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59" r:id="rId5"/>
  </p:sldIdLst>
  <p:sldSz cx="43891200" cy="21945600"/>
  <p:notesSz cx="39600188" cy="39600188"/>
  <p:custDataLst>
    <p:tags r:id="rId8"/>
  </p:custDataLst>
  <p:defaultTextStyle>
    <a:defPPr>
      <a:defRPr lang="en-AU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1pPr>
    <a:lvl2pPr marL="30477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2pPr>
    <a:lvl3pPr marL="609539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3pPr>
    <a:lvl4pPr marL="914309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4pPr>
    <a:lvl5pPr marL="1219078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Times" charset="0"/>
        <a:ea typeface="+mn-ea"/>
        <a:cs typeface="+mn-cs"/>
      </a:defRPr>
    </a:lvl5pPr>
    <a:lvl6pPr marL="1523848" algn="l" defTabSz="609539" rtl="0" eaLnBrk="1" latinLnBrk="0" hangingPunct="1">
      <a:defRPr sz="1600" kern="1200">
        <a:solidFill>
          <a:schemeClr val="tx1"/>
        </a:solidFill>
        <a:latin typeface="Times" charset="0"/>
        <a:ea typeface="+mn-ea"/>
        <a:cs typeface="+mn-cs"/>
      </a:defRPr>
    </a:lvl6pPr>
    <a:lvl7pPr marL="1828617" algn="l" defTabSz="609539" rtl="0" eaLnBrk="1" latinLnBrk="0" hangingPunct="1">
      <a:defRPr sz="1600" kern="1200">
        <a:solidFill>
          <a:schemeClr val="tx1"/>
        </a:solidFill>
        <a:latin typeface="Times" charset="0"/>
        <a:ea typeface="+mn-ea"/>
        <a:cs typeface="+mn-cs"/>
      </a:defRPr>
    </a:lvl7pPr>
    <a:lvl8pPr marL="2133387" algn="l" defTabSz="609539" rtl="0" eaLnBrk="1" latinLnBrk="0" hangingPunct="1">
      <a:defRPr sz="1600" kern="1200">
        <a:solidFill>
          <a:schemeClr val="tx1"/>
        </a:solidFill>
        <a:latin typeface="Times" charset="0"/>
        <a:ea typeface="+mn-ea"/>
        <a:cs typeface="+mn-cs"/>
      </a:defRPr>
    </a:lvl8pPr>
    <a:lvl9pPr marL="2438156" algn="l" defTabSz="609539" rtl="0" eaLnBrk="1" latinLnBrk="0" hangingPunct="1">
      <a:defRPr sz="1600" kern="1200">
        <a:solidFill>
          <a:schemeClr val="tx1"/>
        </a:solidFill>
        <a:latin typeface="Times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609" userDrawn="1">
          <p15:clr>
            <a:srgbClr val="A4A3A4"/>
          </p15:clr>
        </p15:guide>
        <p15:guide id="2" orient="horz" pos="1294" userDrawn="1">
          <p15:clr>
            <a:srgbClr val="A4A3A4"/>
          </p15:clr>
        </p15:guide>
        <p15:guide id="3" orient="horz" pos="3241" userDrawn="1">
          <p15:clr>
            <a:srgbClr val="A4A3A4"/>
          </p15:clr>
        </p15:guide>
        <p15:guide id="4" orient="horz" pos="10560" userDrawn="1">
          <p15:clr>
            <a:srgbClr val="A4A3A4"/>
          </p15:clr>
        </p15:guide>
        <p15:guide id="5" orient="horz" pos="2555" userDrawn="1">
          <p15:clr>
            <a:srgbClr val="A4A3A4"/>
          </p15:clr>
        </p15:guide>
        <p15:guide id="6" orient="horz" pos="13472" userDrawn="1">
          <p15:clr>
            <a:srgbClr val="A4A3A4"/>
          </p15:clr>
        </p15:guide>
        <p15:guide id="7" pos="27219" userDrawn="1">
          <p15:clr>
            <a:srgbClr val="A4A3A4"/>
          </p15:clr>
        </p15:guide>
        <p15:guide id="8" pos="18661" userDrawn="1">
          <p15:clr>
            <a:srgbClr val="A4A3A4"/>
          </p15:clr>
        </p15:guide>
        <p15:guide id="9" pos="393" userDrawn="1">
          <p15:clr>
            <a:srgbClr val="A4A3A4"/>
          </p15:clr>
        </p15:guide>
        <p15:guide id="10" pos="8951" userDrawn="1">
          <p15:clr>
            <a:srgbClr val="A4A3A4"/>
          </p15:clr>
        </p15:guide>
        <p15:guide id="11" pos="9555" userDrawn="1">
          <p15:clr>
            <a:srgbClr val="A4A3A4"/>
          </p15:clr>
        </p15:guide>
        <p15:guide id="12" pos="18112" userDrawn="1">
          <p15:clr>
            <a:srgbClr val="A4A3A4"/>
          </p15:clr>
        </p15:guide>
        <p15:guide id="13" pos="9829" userDrawn="1">
          <p15:clr>
            <a:srgbClr val="A4A3A4"/>
          </p15:clr>
        </p15:guide>
        <p15:guide id="14" pos="1783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chin Ulhas Arakeri" initials="SUA" lastIdx="1" clrIdx="0">
    <p:extLst>
      <p:ext uri="{19B8F6BF-5375-455C-9EA6-DF929625EA0E}">
        <p15:presenceInfo xmlns:p15="http://schemas.microsoft.com/office/powerpoint/2012/main" userId="Sachin Ulhas Araker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28E0E"/>
    <a:srgbClr val="B1810B"/>
    <a:srgbClr val="CFB991"/>
    <a:srgbClr val="DEC699"/>
    <a:srgbClr val="DDC69A"/>
    <a:srgbClr val="035FA0"/>
    <a:srgbClr val="D23A43"/>
    <a:srgbClr val="10253F"/>
    <a:srgbClr val="1F497D"/>
    <a:srgbClr val="1318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9B1864B-F59C-4801-AA46-DBFF4C4A5C0C}" v="1525" dt="2023-04-01T02:55:36.522"/>
    <p1510:client id="{B5D4CE8B-4BAC-4AB7-8384-F62EDD19DFFB}" v="1550" vWet="1552" dt="2023-04-01T02:49:20.267"/>
    <p1510:client id="{DFFB5DB5-5646-4A89-9170-E02E1A476624}" v="113" dt="2023-04-04T02:27:31.09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24" d="100"/>
          <a:sy n="24" d="100"/>
        </p:scale>
        <p:origin x="600" y="125"/>
      </p:cViewPr>
      <p:guideLst>
        <p:guide orient="horz" pos="13609"/>
        <p:guide orient="horz" pos="1294"/>
        <p:guide orient="horz" pos="3241"/>
        <p:guide orient="horz" pos="10560"/>
        <p:guide orient="horz" pos="2555"/>
        <p:guide orient="horz" pos="13472"/>
        <p:guide pos="27219"/>
        <p:guide pos="18661"/>
        <p:guide pos="393"/>
        <p:guide pos="8951"/>
        <p:guide pos="9555"/>
        <p:guide pos="18112"/>
        <p:guide pos="9829"/>
        <p:guide pos="1783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rawford, Jason Thomas" userId="a25ec512-2194-41a5-8b7b-7195e4926699" providerId="ADAL" clId="{79B1864B-F59C-4801-AA46-DBFF4C4A5C0C}"/>
    <pc:docChg chg="undo custSel modSld">
      <pc:chgData name="Crawford, Jason Thomas" userId="a25ec512-2194-41a5-8b7b-7195e4926699" providerId="ADAL" clId="{79B1864B-F59C-4801-AA46-DBFF4C4A5C0C}" dt="2023-04-01T02:55:36.522" v="1549" actId="14100"/>
      <pc:docMkLst>
        <pc:docMk/>
      </pc:docMkLst>
      <pc:sldChg chg="addSp delSp modSp mod">
        <pc:chgData name="Crawford, Jason Thomas" userId="a25ec512-2194-41a5-8b7b-7195e4926699" providerId="ADAL" clId="{79B1864B-F59C-4801-AA46-DBFF4C4A5C0C}" dt="2023-04-01T01:04:20.788" v="651" actId="1035"/>
        <pc:sldMkLst>
          <pc:docMk/>
          <pc:sldMk cId="3352039146" sldId="258"/>
        </pc:sldMkLst>
        <pc:spChg chg="add mod">
          <ac:chgData name="Crawford, Jason Thomas" userId="a25ec512-2194-41a5-8b7b-7195e4926699" providerId="ADAL" clId="{79B1864B-F59C-4801-AA46-DBFF4C4A5C0C}" dt="2023-04-01T00:24:56.148" v="76" actId="1038"/>
          <ac:spMkLst>
            <pc:docMk/>
            <pc:sldMk cId="3352039146" sldId="258"/>
            <ac:spMk id="12" creationId="{EF531FEF-7D65-2628-B9F0-15730AB6CB1A}"/>
          </ac:spMkLst>
        </pc:spChg>
        <pc:spChg chg="add mod">
          <ac:chgData name="Crawford, Jason Thomas" userId="a25ec512-2194-41a5-8b7b-7195e4926699" providerId="ADAL" clId="{79B1864B-F59C-4801-AA46-DBFF4C4A5C0C}" dt="2023-04-01T00:27:04.115" v="139" actId="1076"/>
          <ac:spMkLst>
            <pc:docMk/>
            <pc:sldMk cId="3352039146" sldId="258"/>
            <ac:spMk id="16" creationId="{992DAD4F-BC62-F1BD-625E-C50FD1DCD192}"/>
          </ac:spMkLst>
        </pc:spChg>
        <pc:spChg chg="add mod">
          <ac:chgData name="Crawford, Jason Thomas" userId="a25ec512-2194-41a5-8b7b-7195e4926699" providerId="ADAL" clId="{79B1864B-F59C-4801-AA46-DBFF4C4A5C0C}" dt="2023-04-01T00:28:16.094" v="191" actId="1035"/>
          <ac:spMkLst>
            <pc:docMk/>
            <pc:sldMk cId="3352039146" sldId="258"/>
            <ac:spMk id="17" creationId="{F73A7715-E328-8591-1434-D1F1A793A863}"/>
          </ac:spMkLst>
        </pc:spChg>
        <pc:spChg chg="add mod">
          <ac:chgData name="Crawford, Jason Thomas" userId="a25ec512-2194-41a5-8b7b-7195e4926699" providerId="ADAL" clId="{79B1864B-F59C-4801-AA46-DBFF4C4A5C0C}" dt="2023-04-01T00:40:25.749" v="225" actId="1076"/>
          <ac:spMkLst>
            <pc:docMk/>
            <pc:sldMk cId="3352039146" sldId="258"/>
            <ac:spMk id="20" creationId="{AE13000B-2BEB-0BC9-508F-A940F2274A9E}"/>
          </ac:spMkLst>
        </pc:spChg>
        <pc:spChg chg="add mod">
          <ac:chgData name="Crawford, Jason Thomas" userId="a25ec512-2194-41a5-8b7b-7195e4926699" providerId="ADAL" clId="{79B1864B-F59C-4801-AA46-DBFF4C4A5C0C}" dt="2023-04-01T00:27:43.604" v="169" actId="1076"/>
          <ac:spMkLst>
            <pc:docMk/>
            <pc:sldMk cId="3352039146" sldId="258"/>
            <ac:spMk id="25" creationId="{E29F21BB-5066-7220-4A52-48B9F9A7249C}"/>
          </ac:spMkLst>
        </pc:spChg>
        <pc:spChg chg="mod">
          <ac:chgData name="Crawford, Jason Thomas" userId="a25ec512-2194-41a5-8b7b-7195e4926699" providerId="ADAL" clId="{79B1864B-F59C-4801-AA46-DBFF4C4A5C0C}" dt="2023-04-01T01:01:05.242" v="522" actId="20577"/>
          <ac:spMkLst>
            <pc:docMk/>
            <pc:sldMk cId="3352039146" sldId="258"/>
            <ac:spMk id="26" creationId="{108BB51C-831A-4DCF-84FA-A04FECD426F8}"/>
          </ac:spMkLst>
        </pc:spChg>
        <pc:spChg chg="mod">
          <ac:chgData name="Crawford, Jason Thomas" userId="a25ec512-2194-41a5-8b7b-7195e4926699" providerId="ADAL" clId="{79B1864B-F59C-4801-AA46-DBFF4C4A5C0C}" dt="2023-04-01T01:04:20.788" v="651" actId="1035"/>
          <ac:spMkLst>
            <pc:docMk/>
            <pc:sldMk cId="3352039146" sldId="258"/>
            <ac:spMk id="51" creationId="{8CFF8B06-A40D-712D-49C9-86956B068F5E}"/>
          </ac:spMkLst>
        </pc:spChg>
        <pc:spChg chg="mod">
          <ac:chgData name="Crawford, Jason Thomas" userId="a25ec512-2194-41a5-8b7b-7195e4926699" providerId="ADAL" clId="{79B1864B-F59C-4801-AA46-DBFF4C4A5C0C}" dt="2023-04-01T01:04:15.225" v="636" actId="1035"/>
          <ac:spMkLst>
            <pc:docMk/>
            <pc:sldMk cId="3352039146" sldId="258"/>
            <ac:spMk id="53" creationId="{0AC6BE13-CCCE-AA39-B6CA-A43B100D6210}"/>
          </ac:spMkLst>
        </pc:spChg>
        <pc:spChg chg="mod">
          <ac:chgData name="Crawford, Jason Thomas" userId="a25ec512-2194-41a5-8b7b-7195e4926699" providerId="ADAL" clId="{79B1864B-F59C-4801-AA46-DBFF4C4A5C0C}" dt="2023-04-01T01:04:15.225" v="636" actId="1035"/>
          <ac:spMkLst>
            <pc:docMk/>
            <pc:sldMk cId="3352039146" sldId="258"/>
            <ac:spMk id="54" creationId="{CA41A683-C368-10DD-80A3-2EC6343705E3}"/>
          </ac:spMkLst>
        </pc:spChg>
        <pc:spChg chg="mod">
          <ac:chgData name="Crawford, Jason Thomas" userId="a25ec512-2194-41a5-8b7b-7195e4926699" providerId="ADAL" clId="{79B1864B-F59C-4801-AA46-DBFF4C4A5C0C}" dt="2023-04-01T01:04:15.225" v="636" actId="1035"/>
          <ac:spMkLst>
            <pc:docMk/>
            <pc:sldMk cId="3352039146" sldId="258"/>
            <ac:spMk id="57" creationId="{0E82A48B-40E2-D802-65A1-A20405C7F2F1}"/>
          </ac:spMkLst>
        </pc:spChg>
        <pc:spChg chg="mod">
          <ac:chgData name="Crawford, Jason Thomas" userId="a25ec512-2194-41a5-8b7b-7195e4926699" providerId="ADAL" clId="{79B1864B-F59C-4801-AA46-DBFF4C4A5C0C}" dt="2023-04-01T00:41:13.262" v="226" actId="1076"/>
          <ac:spMkLst>
            <pc:docMk/>
            <pc:sldMk cId="3352039146" sldId="258"/>
            <ac:spMk id="66" creationId="{E84C2C44-699B-6128-2DE5-1AD6C90B253B}"/>
          </ac:spMkLst>
        </pc:spChg>
        <pc:spChg chg="del mod">
          <ac:chgData name="Crawford, Jason Thomas" userId="a25ec512-2194-41a5-8b7b-7195e4926699" providerId="ADAL" clId="{79B1864B-F59C-4801-AA46-DBFF4C4A5C0C}" dt="2023-04-01T01:01:55.450" v="555" actId="478"/>
          <ac:spMkLst>
            <pc:docMk/>
            <pc:sldMk cId="3352039146" sldId="258"/>
            <ac:spMk id="67" creationId="{4B0B6B09-F8AA-D901-D2E7-4FE73334782D}"/>
          </ac:spMkLst>
        </pc:spChg>
        <pc:spChg chg="add mod">
          <ac:chgData name="Crawford, Jason Thomas" userId="a25ec512-2194-41a5-8b7b-7195e4926699" providerId="ADAL" clId="{79B1864B-F59C-4801-AA46-DBFF4C4A5C0C}" dt="2023-04-01T00:27:30.609" v="160" actId="1076"/>
          <ac:spMkLst>
            <pc:docMk/>
            <pc:sldMk cId="3352039146" sldId="258"/>
            <ac:spMk id="68" creationId="{D182C095-5D22-9C10-8D5F-0002AA62E3D2}"/>
          </ac:spMkLst>
        </pc:spChg>
        <pc:spChg chg="del mod">
          <ac:chgData name="Crawford, Jason Thomas" userId="a25ec512-2194-41a5-8b7b-7195e4926699" providerId="ADAL" clId="{79B1864B-F59C-4801-AA46-DBFF4C4A5C0C}" dt="2023-04-01T01:01:54.912" v="554" actId="478"/>
          <ac:spMkLst>
            <pc:docMk/>
            <pc:sldMk cId="3352039146" sldId="258"/>
            <ac:spMk id="70" creationId="{AEA030A2-1328-098E-BDAE-9A11D2088B99}"/>
          </ac:spMkLst>
        </pc:spChg>
        <pc:spChg chg="mod">
          <ac:chgData name="Crawford, Jason Thomas" userId="a25ec512-2194-41a5-8b7b-7195e4926699" providerId="ADAL" clId="{79B1864B-F59C-4801-AA46-DBFF4C4A5C0C}" dt="2023-04-01T00:52:18.214" v="455" actId="20577"/>
          <ac:spMkLst>
            <pc:docMk/>
            <pc:sldMk cId="3352039146" sldId="258"/>
            <ac:spMk id="77" creationId="{6C3D9723-C981-BC1A-B128-E8D8989E6A95}"/>
          </ac:spMkLst>
        </pc:spChg>
        <pc:spChg chg="add del mod">
          <ac:chgData name="Crawford, Jason Thomas" userId="a25ec512-2194-41a5-8b7b-7195e4926699" providerId="ADAL" clId="{79B1864B-F59C-4801-AA46-DBFF4C4A5C0C}" dt="2023-04-01T00:42:01.473" v="237" actId="478"/>
          <ac:spMkLst>
            <pc:docMk/>
            <pc:sldMk cId="3352039146" sldId="258"/>
            <ac:spMk id="77" creationId="{7B40C345-3925-62C8-3520-B2CFD9B47646}"/>
          </ac:spMkLst>
        </pc:spChg>
        <pc:spChg chg="add del mod">
          <ac:chgData name="Crawford, Jason Thomas" userId="a25ec512-2194-41a5-8b7b-7195e4926699" providerId="ADAL" clId="{79B1864B-F59C-4801-AA46-DBFF4C4A5C0C}" dt="2023-04-01T00:41:53.509" v="235" actId="478"/>
          <ac:spMkLst>
            <pc:docMk/>
            <pc:sldMk cId="3352039146" sldId="258"/>
            <ac:spMk id="81" creationId="{BD34452A-971C-7E9E-2F49-61247F693495}"/>
          </ac:spMkLst>
        </pc:spChg>
        <pc:spChg chg="add del mod">
          <ac:chgData name="Crawford, Jason Thomas" userId="a25ec512-2194-41a5-8b7b-7195e4926699" providerId="ADAL" clId="{79B1864B-F59C-4801-AA46-DBFF4C4A5C0C}" dt="2023-04-01T00:41:55.074" v="236" actId="478"/>
          <ac:spMkLst>
            <pc:docMk/>
            <pc:sldMk cId="3352039146" sldId="258"/>
            <ac:spMk id="93" creationId="{4D62FD7B-7ED7-4E9F-8DE3-C37156FFCAFA}"/>
          </ac:spMkLst>
        </pc:spChg>
        <pc:spChg chg="add mod">
          <ac:chgData name="Crawford, Jason Thomas" userId="a25ec512-2194-41a5-8b7b-7195e4926699" providerId="ADAL" clId="{79B1864B-F59C-4801-AA46-DBFF4C4A5C0C}" dt="2023-04-01T00:44:24.253" v="324" actId="1037"/>
          <ac:spMkLst>
            <pc:docMk/>
            <pc:sldMk cId="3352039146" sldId="258"/>
            <ac:spMk id="108" creationId="{1E5FA84B-7F3C-8527-DAA8-EC1CF2B74FAC}"/>
          </ac:spMkLst>
        </pc:spChg>
        <pc:spChg chg="add mod">
          <ac:chgData name="Crawford, Jason Thomas" userId="a25ec512-2194-41a5-8b7b-7195e4926699" providerId="ADAL" clId="{79B1864B-F59C-4801-AA46-DBFF4C4A5C0C}" dt="2023-04-01T00:44:56.031" v="451" actId="14100"/>
          <ac:spMkLst>
            <pc:docMk/>
            <pc:sldMk cId="3352039146" sldId="258"/>
            <ac:spMk id="113" creationId="{C8439A76-BCDB-20F3-05FF-1FAC14DBF01B}"/>
          </ac:spMkLst>
        </pc:spChg>
        <pc:spChg chg="add del">
          <ac:chgData name="Crawford, Jason Thomas" userId="a25ec512-2194-41a5-8b7b-7195e4926699" providerId="ADAL" clId="{79B1864B-F59C-4801-AA46-DBFF4C4A5C0C}" dt="2023-04-01T00:53:01.395" v="463" actId="22"/>
          <ac:spMkLst>
            <pc:docMk/>
            <pc:sldMk cId="3352039146" sldId="258"/>
            <ac:spMk id="121" creationId="{1DEFEB7E-7817-03ED-4B00-5B29A444BB51}"/>
          </ac:spMkLst>
        </pc:spChg>
        <pc:spChg chg="add mod">
          <ac:chgData name="Crawford, Jason Thomas" userId="a25ec512-2194-41a5-8b7b-7195e4926699" providerId="ADAL" clId="{79B1864B-F59C-4801-AA46-DBFF4C4A5C0C}" dt="2023-04-01T00:53:10.797" v="465"/>
          <ac:spMkLst>
            <pc:docMk/>
            <pc:sldMk cId="3352039146" sldId="258"/>
            <ac:spMk id="126" creationId="{E1D417B5-C7F4-FD51-38A5-A524F038C922}"/>
          </ac:spMkLst>
        </pc:spChg>
        <pc:spChg chg="add mod">
          <ac:chgData name="Crawford, Jason Thomas" userId="a25ec512-2194-41a5-8b7b-7195e4926699" providerId="ADAL" clId="{79B1864B-F59C-4801-AA46-DBFF4C4A5C0C}" dt="2023-04-01T01:04:15.225" v="636" actId="1035"/>
          <ac:spMkLst>
            <pc:docMk/>
            <pc:sldMk cId="3352039146" sldId="258"/>
            <ac:spMk id="135" creationId="{6BCF5059-7ED6-418A-D505-C445283ED557}"/>
          </ac:spMkLst>
        </pc:spChg>
        <pc:spChg chg="add mod">
          <ac:chgData name="Crawford, Jason Thomas" userId="a25ec512-2194-41a5-8b7b-7195e4926699" providerId="ADAL" clId="{79B1864B-F59C-4801-AA46-DBFF4C4A5C0C}" dt="2023-04-01T01:04:15.225" v="636" actId="1035"/>
          <ac:spMkLst>
            <pc:docMk/>
            <pc:sldMk cId="3352039146" sldId="258"/>
            <ac:spMk id="139" creationId="{CFA0E17E-AE63-2724-8586-62FC9E4AB0E2}"/>
          </ac:spMkLst>
        </pc:spChg>
        <pc:spChg chg="mod">
          <ac:chgData name="Crawford, Jason Thomas" userId="a25ec512-2194-41a5-8b7b-7195e4926699" providerId="ADAL" clId="{79B1864B-F59C-4801-AA46-DBFF4C4A5C0C}" dt="2023-04-01T00:25:55.142" v="130" actId="6549"/>
          <ac:spMkLst>
            <pc:docMk/>
            <pc:sldMk cId="3352039146" sldId="258"/>
            <ac:spMk id="767" creationId="{CEE56D21-548A-5724-7303-2F00CD8F2517}"/>
          </ac:spMkLst>
        </pc:spChg>
        <pc:spChg chg="del">
          <ac:chgData name="Crawford, Jason Thomas" userId="a25ec512-2194-41a5-8b7b-7195e4926699" providerId="ADAL" clId="{79B1864B-F59C-4801-AA46-DBFF4C4A5C0C}" dt="2023-04-01T00:23:43.825" v="0" actId="478"/>
          <ac:spMkLst>
            <pc:docMk/>
            <pc:sldMk cId="3352039146" sldId="258"/>
            <ac:spMk id="16384" creationId="{F3BE81C9-AC99-370E-8C9A-3862E8980C30}"/>
          </ac:spMkLst>
        </pc:spChg>
        <pc:spChg chg="del mod">
          <ac:chgData name="Crawford, Jason Thomas" userId="a25ec512-2194-41a5-8b7b-7195e4926699" providerId="ADAL" clId="{79B1864B-F59C-4801-AA46-DBFF4C4A5C0C}" dt="2023-04-01T00:24:16.153" v="10" actId="478"/>
          <ac:spMkLst>
            <pc:docMk/>
            <pc:sldMk cId="3352039146" sldId="258"/>
            <ac:spMk id="16385" creationId="{A4E903DD-B235-0121-490B-864FAA54E99D}"/>
          </ac:spMkLst>
        </pc:spChg>
        <pc:spChg chg="mod ord">
          <ac:chgData name="Crawford, Jason Thomas" userId="a25ec512-2194-41a5-8b7b-7195e4926699" providerId="ADAL" clId="{79B1864B-F59C-4801-AA46-DBFF4C4A5C0C}" dt="2023-04-01T00:28:27.037" v="221" actId="1035"/>
          <ac:spMkLst>
            <pc:docMk/>
            <pc:sldMk cId="3352039146" sldId="258"/>
            <ac:spMk id="16387" creationId="{0EAE0DE3-A750-41A3-7C06-877F909D1B9A}"/>
          </ac:spMkLst>
        </pc:spChg>
        <pc:spChg chg="del">
          <ac:chgData name="Crawford, Jason Thomas" userId="a25ec512-2194-41a5-8b7b-7195e4926699" providerId="ADAL" clId="{79B1864B-F59C-4801-AA46-DBFF4C4A5C0C}" dt="2023-04-01T00:23:44.735" v="1" actId="478"/>
          <ac:spMkLst>
            <pc:docMk/>
            <pc:sldMk cId="3352039146" sldId="258"/>
            <ac:spMk id="16391" creationId="{9F774914-0B4A-100C-310D-28CF11368488}"/>
          </ac:spMkLst>
        </pc:spChg>
        <pc:spChg chg="del mod">
          <ac:chgData name="Crawford, Jason Thomas" userId="a25ec512-2194-41a5-8b7b-7195e4926699" providerId="ADAL" clId="{79B1864B-F59C-4801-AA46-DBFF4C4A5C0C}" dt="2023-04-01T00:24:44.321" v="22" actId="478"/>
          <ac:spMkLst>
            <pc:docMk/>
            <pc:sldMk cId="3352039146" sldId="258"/>
            <ac:spMk id="16392" creationId="{0B0395EC-5AE6-0910-0186-F144E94DA01B}"/>
          </ac:spMkLst>
        </pc:spChg>
        <pc:spChg chg="mod">
          <ac:chgData name="Crawford, Jason Thomas" userId="a25ec512-2194-41a5-8b7b-7195e4926699" providerId="ADAL" clId="{79B1864B-F59C-4801-AA46-DBFF4C4A5C0C}" dt="2023-04-01T00:24:42.278" v="21" actId="1037"/>
          <ac:spMkLst>
            <pc:docMk/>
            <pc:sldMk cId="3352039146" sldId="258"/>
            <ac:spMk id="16393" creationId="{2E762F17-A3E4-5E3B-82CC-3E4D782815D7}"/>
          </ac:spMkLst>
        </pc:spChg>
        <pc:picChg chg="mod">
          <ac:chgData name="Crawford, Jason Thomas" userId="a25ec512-2194-41a5-8b7b-7195e4926699" providerId="ADAL" clId="{79B1864B-F59C-4801-AA46-DBFF4C4A5C0C}" dt="2023-04-01T00:41:13.262" v="226" actId="1076"/>
          <ac:picMkLst>
            <pc:docMk/>
            <pc:sldMk cId="3352039146" sldId="258"/>
            <ac:picMk id="62" creationId="{36D3FD7C-180B-E0AD-B10B-E9A8962179EF}"/>
          </ac:picMkLst>
        </pc:picChg>
        <pc:picChg chg="add mod">
          <ac:chgData name="Crawford, Jason Thomas" userId="a25ec512-2194-41a5-8b7b-7195e4926699" providerId="ADAL" clId="{79B1864B-F59C-4801-AA46-DBFF4C4A5C0C}" dt="2023-04-01T00:43:57.908" v="316" actId="1037"/>
          <ac:picMkLst>
            <pc:docMk/>
            <pc:sldMk cId="3352039146" sldId="258"/>
            <ac:picMk id="69" creationId="{B29DD3A3-BA60-D069-3213-75B8F79A7555}"/>
          </ac:picMkLst>
        </pc:picChg>
        <pc:picChg chg="add mod">
          <ac:chgData name="Crawford, Jason Thomas" userId="a25ec512-2194-41a5-8b7b-7195e4926699" providerId="ADAL" clId="{79B1864B-F59C-4801-AA46-DBFF4C4A5C0C}" dt="2023-04-01T00:42:21.103" v="249" actId="1036"/>
          <ac:picMkLst>
            <pc:docMk/>
            <pc:sldMk cId="3352039146" sldId="258"/>
            <ac:picMk id="79" creationId="{25FA2FEA-BF10-1FD7-A86C-A4E22D633B40}"/>
          </ac:picMkLst>
        </pc:picChg>
        <pc:picChg chg="add mod">
          <ac:chgData name="Crawford, Jason Thomas" userId="a25ec512-2194-41a5-8b7b-7195e4926699" providerId="ADAL" clId="{79B1864B-F59C-4801-AA46-DBFF4C4A5C0C}" dt="2023-04-01T00:42:21.103" v="249" actId="1036"/>
          <ac:picMkLst>
            <pc:docMk/>
            <pc:sldMk cId="3352039146" sldId="258"/>
            <ac:picMk id="82" creationId="{632CE361-AF70-7D19-230B-79BB42D86682}"/>
          </ac:picMkLst>
        </pc:picChg>
        <pc:picChg chg="del">
          <ac:chgData name="Crawford, Jason Thomas" userId="a25ec512-2194-41a5-8b7b-7195e4926699" providerId="ADAL" clId="{79B1864B-F59C-4801-AA46-DBFF4C4A5C0C}" dt="2023-04-01T00:24:17.414" v="11" actId="478"/>
          <ac:picMkLst>
            <pc:docMk/>
            <pc:sldMk cId="3352039146" sldId="258"/>
            <ac:picMk id="16401" creationId="{8A8ED9FA-1E53-4DCB-64DD-3C4A089B6652}"/>
          </ac:picMkLst>
        </pc:picChg>
        <pc:cxnChg chg="add mod">
          <ac:chgData name="Crawford, Jason Thomas" userId="a25ec512-2194-41a5-8b7b-7195e4926699" providerId="ADAL" clId="{79B1864B-F59C-4801-AA46-DBFF4C4A5C0C}" dt="2023-04-01T00:42:21.103" v="249" actId="1036"/>
          <ac:cxnSpMkLst>
            <pc:docMk/>
            <pc:sldMk cId="3352039146" sldId="258"/>
            <ac:cxnSpMk id="104" creationId="{0100127B-7B38-0B12-4820-ED84211D826B}"/>
          </ac:cxnSpMkLst>
        </pc:cxnChg>
        <pc:cxnChg chg="add mod">
          <ac:chgData name="Crawford, Jason Thomas" userId="a25ec512-2194-41a5-8b7b-7195e4926699" providerId="ADAL" clId="{79B1864B-F59C-4801-AA46-DBFF4C4A5C0C}" dt="2023-04-01T00:42:21.103" v="249" actId="1036"/>
          <ac:cxnSpMkLst>
            <pc:docMk/>
            <pc:sldMk cId="3352039146" sldId="258"/>
            <ac:cxnSpMk id="106" creationId="{F7CA63E7-291F-BA32-1EAB-77641DB70A98}"/>
          </ac:cxnSpMkLst>
        </pc:cxnChg>
        <pc:cxnChg chg="add mod">
          <ac:chgData name="Crawford, Jason Thomas" userId="a25ec512-2194-41a5-8b7b-7195e4926699" providerId="ADAL" clId="{79B1864B-F59C-4801-AA46-DBFF4C4A5C0C}" dt="2023-04-01T00:42:21.103" v="249" actId="1036"/>
          <ac:cxnSpMkLst>
            <pc:docMk/>
            <pc:sldMk cId="3352039146" sldId="258"/>
            <ac:cxnSpMk id="107" creationId="{DAB0A20F-CD1C-7460-8F12-F757FF684F3F}"/>
          </ac:cxnSpMkLst>
        </pc:cxnChg>
      </pc:sldChg>
      <pc:sldChg chg="addSp delSp modSp mod">
        <pc:chgData name="Crawford, Jason Thomas" userId="a25ec512-2194-41a5-8b7b-7195e4926699" providerId="ADAL" clId="{79B1864B-F59C-4801-AA46-DBFF4C4A5C0C}" dt="2023-04-01T02:55:36.522" v="1549" actId="14100"/>
        <pc:sldMkLst>
          <pc:docMk/>
          <pc:sldMk cId="1150007428" sldId="259"/>
        </pc:sldMkLst>
        <pc:spChg chg="add mod">
          <ac:chgData name="Crawford, Jason Thomas" userId="a25ec512-2194-41a5-8b7b-7195e4926699" providerId="ADAL" clId="{79B1864B-F59C-4801-AA46-DBFF4C4A5C0C}" dt="2023-04-01T02:55:16.227" v="1521" actId="1076"/>
          <ac:spMkLst>
            <pc:docMk/>
            <pc:sldMk cId="1150007428" sldId="259"/>
            <ac:spMk id="21" creationId="{3812550F-6361-BDF2-EFDC-A4F2A5D6FED6}"/>
          </ac:spMkLst>
        </pc:spChg>
        <pc:spChg chg="mod">
          <ac:chgData name="Crawford, Jason Thomas" userId="a25ec512-2194-41a5-8b7b-7195e4926699" providerId="ADAL" clId="{79B1864B-F59C-4801-AA46-DBFF4C4A5C0C}" dt="2023-04-01T01:38:29.536" v="676" actId="1076"/>
          <ac:spMkLst>
            <pc:docMk/>
            <pc:sldMk cId="1150007428" sldId="259"/>
            <ac:spMk id="23" creationId="{9A13BD17-DE5E-0176-D56D-571E690D5A57}"/>
          </ac:spMkLst>
        </pc:spChg>
        <pc:spChg chg="mod">
          <ac:chgData name="Crawford, Jason Thomas" userId="a25ec512-2194-41a5-8b7b-7195e4926699" providerId="ADAL" clId="{79B1864B-F59C-4801-AA46-DBFF4C4A5C0C}" dt="2023-04-01T02:55:29.686" v="1548" actId="20577"/>
          <ac:spMkLst>
            <pc:docMk/>
            <pc:sldMk cId="1150007428" sldId="259"/>
            <ac:spMk id="24" creationId="{510F9D4B-2B1A-551D-6C97-5D3AA6C55128}"/>
          </ac:spMkLst>
        </pc:spChg>
        <pc:spChg chg="mod">
          <ac:chgData name="Crawford, Jason Thomas" userId="a25ec512-2194-41a5-8b7b-7195e4926699" providerId="ADAL" clId="{79B1864B-F59C-4801-AA46-DBFF4C4A5C0C}" dt="2023-04-01T00:59:53.043" v="502" actId="20577"/>
          <ac:spMkLst>
            <pc:docMk/>
            <pc:sldMk cId="1150007428" sldId="259"/>
            <ac:spMk id="26" creationId="{108BB51C-831A-4DCF-84FA-A04FECD426F8}"/>
          </ac:spMkLst>
        </pc:spChg>
        <pc:spChg chg="mod">
          <ac:chgData name="Crawford, Jason Thomas" userId="a25ec512-2194-41a5-8b7b-7195e4926699" providerId="ADAL" clId="{79B1864B-F59C-4801-AA46-DBFF4C4A5C0C}" dt="2023-04-01T00:59:15.594" v="481" actId="1076"/>
          <ac:spMkLst>
            <pc:docMk/>
            <pc:sldMk cId="1150007428" sldId="259"/>
            <ac:spMk id="53" creationId="{0AC6BE13-CCCE-AA39-B6CA-A43B100D6210}"/>
          </ac:spMkLst>
        </pc:spChg>
        <pc:spChg chg="mod">
          <ac:chgData name="Crawford, Jason Thomas" userId="a25ec512-2194-41a5-8b7b-7195e4926699" providerId="ADAL" clId="{79B1864B-F59C-4801-AA46-DBFF4C4A5C0C}" dt="2023-04-01T01:00:16.742" v="505" actId="14100"/>
          <ac:spMkLst>
            <pc:docMk/>
            <pc:sldMk cId="1150007428" sldId="259"/>
            <ac:spMk id="57" creationId="{0E82A48B-40E2-D802-65A1-A20405C7F2F1}"/>
          </ac:spMkLst>
        </pc:spChg>
        <pc:spChg chg="del">
          <ac:chgData name="Crawford, Jason Thomas" userId="a25ec512-2194-41a5-8b7b-7195e4926699" providerId="ADAL" clId="{79B1864B-F59C-4801-AA46-DBFF4C4A5C0C}" dt="2023-04-01T00:59:35.930" v="492" actId="478"/>
          <ac:spMkLst>
            <pc:docMk/>
            <pc:sldMk cId="1150007428" sldId="259"/>
            <ac:spMk id="67" creationId="{4B0B6B09-F8AA-D901-D2E7-4FE73334782D}"/>
          </ac:spMkLst>
        </pc:spChg>
        <pc:spChg chg="del">
          <ac:chgData name="Crawford, Jason Thomas" userId="a25ec512-2194-41a5-8b7b-7195e4926699" providerId="ADAL" clId="{79B1864B-F59C-4801-AA46-DBFF4C4A5C0C}" dt="2023-04-01T00:59:35.365" v="491" actId="478"/>
          <ac:spMkLst>
            <pc:docMk/>
            <pc:sldMk cId="1150007428" sldId="259"/>
            <ac:spMk id="70" creationId="{AEA030A2-1328-098E-BDAE-9A11D2088B99}"/>
          </ac:spMkLst>
        </pc:spChg>
        <pc:spChg chg="add mod">
          <ac:chgData name="Crawford, Jason Thomas" userId="a25ec512-2194-41a5-8b7b-7195e4926699" providerId="ADAL" clId="{79B1864B-F59C-4801-AA46-DBFF4C4A5C0C}" dt="2023-04-01T01:51:30.298" v="749" actId="1076"/>
          <ac:spMkLst>
            <pc:docMk/>
            <pc:sldMk cId="1150007428" sldId="259"/>
            <ac:spMk id="155" creationId="{A605C776-CE26-B571-A393-26EB8F5BCCCD}"/>
          </ac:spMkLst>
        </pc:spChg>
        <pc:spChg chg="add del mod">
          <ac:chgData name="Crawford, Jason Thomas" userId="a25ec512-2194-41a5-8b7b-7195e4926699" providerId="ADAL" clId="{79B1864B-F59C-4801-AA46-DBFF4C4A5C0C}" dt="2023-04-01T01:51:50.176" v="751" actId="478"/>
          <ac:spMkLst>
            <pc:docMk/>
            <pc:sldMk cId="1150007428" sldId="259"/>
            <ac:spMk id="156" creationId="{B827CD44-C443-72E4-00DF-CC6205F9A472}"/>
          </ac:spMkLst>
        </pc:spChg>
        <pc:spChg chg="add mod">
          <ac:chgData name="Crawford, Jason Thomas" userId="a25ec512-2194-41a5-8b7b-7195e4926699" providerId="ADAL" clId="{79B1864B-F59C-4801-AA46-DBFF4C4A5C0C}" dt="2023-04-01T01:55:29.095" v="1079" actId="1035"/>
          <ac:spMkLst>
            <pc:docMk/>
            <pc:sldMk cId="1150007428" sldId="259"/>
            <ac:spMk id="161" creationId="{0CDCFE59-6CD4-D9B1-3004-585B3D9778A2}"/>
          </ac:spMkLst>
        </pc:spChg>
        <pc:spChg chg="mod">
          <ac:chgData name="Crawford, Jason Thomas" userId="a25ec512-2194-41a5-8b7b-7195e4926699" providerId="ADAL" clId="{79B1864B-F59C-4801-AA46-DBFF4C4A5C0C}" dt="2023-04-01T01:38:05.070" v="669" actId="20577"/>
          <ac:spMkLst>
            <pc:docMk/>
            <pc:sldMk cId="1150007428" sldId="259"/>
            <ac:spMk id="242" creationId="{43507421-7EF3-2150-EBAD-1BD6C585E91E}"/>
          </ac:spMkLst>
        </pc:spChg>
        <pc:spChg chg="mod">
          <ac:chgData name="Crawford, Jason Thomas" userId="a25ec512-2194-41a5-8b7b-7195e4926699" providerId="ADAL" clId="{79B1864B-F59C-4801-AA46-DBFF4C4A5C0C}" dt="2023-04-01T01:38:12.529" v="672" actId="1038"/>
          <ac:spMkLst>
            <pc:docMk/>
            <pc:sldMk cId="1150007428" sldId="259"/>
            <ac:spMk id="243" creationId="{0CF8339D-04FA-EF6F-A7F2-6593C7E0FE67}"/>
          </ac:spMkLst>
        </pc:spChg>
        <pc:spChg chg="mod">
          <ac:chgData name="Crawford, Jason Thomas" userId="a25ec512-2194-41a5-8b7b-7195e4926699" providerId="ADAL" clId="{79B1864B-F59C-4801-AA46-DBFF4C4A5C0C}" dt="2023-04-01T01:37:05.381" v="664" actId="1076"/>
          <ac:spMkLst>
            <pc:docMk/>
            <pc:sldMk cId="1150007428" sldId="259"/>
            <ac:spMk id="719" creationId="{DE6529F8-89E7-0A6F-FFF9-E44717EEF6BF}"/>
          </ac:spMkLst>
        </pc:spChg>
        <pc:spChg chg="mod">
          <ac:chgData name="Crawford, Jason Thomas" userId="a25ec512-2194-41a5-8b7b-7195e4926699" providerId="ADAL" clId="{79B1864B-F59C-4801-AA46-DBFF4C4A5C0C}" dt="2023-04-01T02:17:59.061" v="1106" actId="1076"/>
          <ac:spMkLst>
            <pc:docMk/>
            <pc:sldMk cId="1150007428" sldId="259"/>
            <ac:spMk id="720" creationId="{89E5A9BB-1E0F-5642-00B8-B0DF703022CC}"/>
          </ac:spMkLst>
        </pc:spChg>
        <pc:picChg chg="mod">
          <ac:chgData name="Crawford, Jason Thomas" userId="a25ec512-2194-41a5-8b7b-7195e4926699" providerId="ADAL" clId="{79B1864B-F59C-4801-AA46-DBFF4C4A5C0C}" dt="2023-04-01T01:37:02.494" v="663" actId="14100"/>
          <ac:picMkLst>
            <pc:docMk/>
            <pc:sldMk cId="1150007428" sldId="259"/>
            <ac:picMk id="15" creationId="{5347A257-ED40-903A-3472-FAD5AD29A1E3}"/>
          </ac:picMkLst>
        </pc:picChg>
        <pc:picChg chg="mod">
          <ac:chgData name="Crawford, Jason Thomas" userId="a25ec512-2194-41a5-8b7b-7195e4926699" providerId="ADAL" clId="{79B1864B-F59C-4801-AA46-DBFF4C4A5C0C}" dt="2023-04-01T01:38:43.143" v="680" actId="14100"/>
          <ac:picMkLst>
            <pc:docMk/>
            <pc:sldMk cId="1150007428" sldId="259"/>
            <ac:picMk id="21" creationId="{67812D31-F59D-6EC7-1445-67BE20540830}"/>
          </ac:picMkLst>
        </pc:picChg>
        <pc:picChg chg="add mod">
          <ac:chgData name="Crawford, Jason Thomas" userId="a25ec512-2194-41a5-8b7b-7195e4926699" providerId="ADAL" clId="{79B1864B-F59C-4801-AA46-DBFF4C4A5C0C}" dt="2023-04-01T02:55:36.522" v="1549" actId="14100"/>
          <ac:picMkLst>
            <pc:docMk/>
            <pc:sldMk cId="1150007428" sldId="259"/>
            <ac:picMk id="154" creationId="{E904B181-6C5E-BCDA-23A4-1E76ABF5483D}"/>
          </ac:picMkLst>
        </pc:picChg>
        <pc:picChg chg="add del mod">
          <ac:chgData name="Crawford, Jason Thomas" userId="a25ec512-2194-41a5-8b7b-7195e4926699" providerId="ADAL" clId="{79B1864B-F59C-4801-AA46-DBFF4C4A5C0C}" dt="2023-04-01T02:15:30.196" v="1094" actId="478"/>
          <ac:picMkLst>
            <pc:docMk/>
            <pc:sldMk cId="1150007428" sldId="259"/>
            <ac:picMk id="169" creationId="{005EDB4D-6A94-DB12-B979-B3E56CEF84E0}"/>
          </ac:picMkLst>
        </pc:picChg>
        <pc:picChg chg="add mod">
          <ac:chgData name="Crawford, Jason Thomas" userId="a25ec512-2194-41a5-8b7b-7195e4926699" providerId="ADAL" clId="{79B1864B-F59C-4801-AA46-DBFF4C4A5C0C}" dt="2023-04-01T02:17:07.390" v="1103" actId="14100"/>
          <ac:picMkLst>
            <pc:docMk/>
            <pc:sldMk cId="1150007428" sldId="259"/>
            <ac:picMk id="171" creationId="{44D4D345-AF6C-7B8C-3420-630663F89406}"/>
          </ac:picMkLst>
        </pc:picChg>
        <pc:cxnChg chg="add del">
          <ac:chgData name="Crawford, Jason Thomas" userId="a25ec512-2194-41a5-8b7b-7195e4926699" providerId="ADAL" clId="{79B1864B-F59C-4801-AA46-DBFF4C4A5C0C}" dt="2023-04-01T01:55:58.737" v="1081" actId="11529"/>
          <ac:cxnSpMkLst>
            <pc:docMk/>
            <pc:sldMk cId="1150007428" sldId="259"/>
            <ac:cxnSpMk id="164" creationId="{150B0832-64B3-D874-5DEB-B82055D28D3F}"/>
          </ac:cxnSpMkLst>
        </pc:cxnChg>
        <pc:cxnChg chg="add mod">
          <ac:chgData name="Crawford, Jason Thomas" userId="a25ec512-2194-41a5-8b7b-7195e4926699" providerId="ADAL" clId="{79B1864B-F59C-4801-AA46-DBFF4C4A5C0C}" dt="2023-04-01T01:56:18.073" v="1086" actId="1038"/>
          <ac:cxnSpMkLst>
            <pc:docMk/>
            <pc:sldMk cId="1150007428" sldId="259"/>
            <ac:cxnSpMk id="165" creationId="{BCC34E9D-42E3-C8C4-C209-2C10E100AA5D}"/>
          </ac:cxnSpMkLst>
        </pc:cxnChg>
        <pc:cxnChg chg="add mod">
          <ac:chgData name="Crawford, Jason Thomas" userId="a25ec512-2194-41a5-8b7b-7195e4926699" providerId="ADAL" clId="{79B1864B-F59C-4801-AA46-DBFF4C4A5C0C}" dt="2023-04-01T01:56:32.106" v="1090" actId="1036"/>
          <ac:cxnSpMkLst>
            <pc:docMk/>
            <pc:sldMk cId="1150007428" sldId="259"/>
            <ac:cxnSpMk id="167" creationId="{14FB4A71-4B0D-7463-9FC0-E24765473BF5}"/>
          </ac:cxnSpMkLst>
        </pc:cxnChg>
      </pc:sldChg>
    </pc:docChg>
  </pc:docChgLst>
  <pc:docChgLst>
    <pc:chgData name="Das, Kamalika" userId="efceac1c-2cb2-48ca-8d9c-a271dcf53650" providerId="ADAL" clId="{B5D4CE8B-4BAC-4AB7-8384-F62EDD19DFFB}"/>
    <pc:docChg chg="undo redo custSel addSld delSld modSld">
      <pc:chgData name="Das, Kamalika" userId="efceac1c-2cb2-48ca-8d9c-a271dcf53650" providerId="ADAL" clId="{B5D4CE8B-4BAC-4AB7-8384-F62EDD19DFFB}" dt="2023-04-01T02:21:55.211" v="1493" actId="47"/>
      <pc:docMkLst>
        <pc:docMk/>
      </pc:docMkLst>
      <pc:sldChg chg="modSp del mod">
        <pc:chgData name="Das, Kamalika" userId="efceac1c-2cb2-48ca-8d9c-a271dcf53650" providerId="ADAL" clId="{B5D4CE8B-4BAC-4AB7-8384-F62EDD19DFFB}" dt="2023-04-01T02:21:52.022" v="1492" actId="47"/>
        <pc:sldMkLst>
          <pc:docMk/>
          <pc:sldMk cId="1501710035" sldId="257"/>
        </pc:sldMkLst>
        <pc:spChg chg="mod">
          <ac:chgData name="Das, Kamalika" userId="efceac1c-2cb2-48ca-8d9c-a271dcf53650" providerId="ADAL" clId="{B5D4CE8B-4BAC-4AB7-8384-F62EDD19DFFB}" dt="2023-04-01T00:03:01.755" v="14" actId="20577"/>
          <ac:spMkLst>
            <pc:docMk/>
            <pc:sldMk cId="1501710035" sldId="257"/>
            <ac:spMk id="123" creationId="{3648BB91-E859-4C4E-5233-1DA51C30EECF}"/>
          </ac:spMkLst>
        </pc:spChg>
      </pc:sldChg>
      <pc:sldChg chg="addSp delSp modSp del mod">
        <pc:chgData name="Das, Kamalika" userId="efceac1c-2cb2-48ca-8d9c-a271dcf53650" providerId="ADAL" clId="{B5D4CE8B-4BAC-4AB7-8384-F62EDD19DFFB}" dt="2023-04-01T02:21:55.211" v="1493" actId="47"/>
        <pc:sldMkLst>
          <pc:docMk/>
          <pc:sldMk cId="3352039146" sldId="258"/>
        </pc:sldMkLst>
        <pc:spChg chg="mod">
          <ac:chgData name="Das, Kamalika" userId="efceac1c-2cb2-48ca-8d9c-a271dcf53650" providerId="ADAL" clId="{B5D4CE8B-4BAC-4AB7-8384-F62EDD19DFFB}" dt="2023-04-01T00:57:43.113" v="201" actId="14100"/>
          <ac:spMkLst>
            <pc:docMk/>
            <pc:sldMk cId="3352039146" sldId="258"/>
            <ac:spMk id="26" creationId="{108BB51C-831A-4DCF-84FA-A04FECD426F8}"/>
          </ac:spMkLst>
        </pc:spChg>
        <pc:spChg chg="mod">
          <ac:chgData name="Das, Kamalika" userId="efceac1c-2cb2-48ca-8d9c-a271dcf53650" providerId="ADAL" clId="{B5D4CE8B-4BAC-4AB7-8384-F62EDD19DFFB}" dt="2023-04-01T00:57:19.293" v="198" actId="1035"/>
          <ac:spMkLst>
            <pc:docMk/>
            <pc:sldMk cId="3352039146" sldId="258"/>
            <ac:spMk id="34" creationId="{1E691D5B-DEA8-4C56-96F7-361BD5DF17DE}"/>
          </ac:spMkLst>
        </pc:spChg>
        <pc:spChg chg="mod">
          <ac:chgData name="Das, Kamalika" userId="efceac1c-2cb2-48ca-8d9c-a271dcf53650" providerId="ADAL" clId="{B5D4CE8B-4BAC-4AB7-8384-F62EDD19DFFB}" dt="2023-04-01T00:57:19.293" v="198" actId="1035"/>
          <ac:spMkLst>
            <pc:docMk/>
            <pc:sldMk cId="3352039146" sldId="258"/>
            <ac:spMk id="36" creationId="{E9989D70-EF79-47D4-BB0B-547709F3D730}"/>
          </ac:spMkLst>
        </pc:spChg>
        <pc:spChg chg="mod">
          <ac:chgData name="Das, Kamalika" userId="efceac1c-2cb2-48ca-8d9c-a271dcf53650" providerId="ADAL" clId="{B5D4CE8B-4BAC-4AB7-8384-F62EDD19DFFB}" dt="2023-04-01T00:57:00.613" v="142" actId="1076"/>
          <ac:spMkLst>
            <pc:docMk/>
            <pc:sldMk cId="3352039146" sldId="258"/>
            <ac:spMk id="44" creationId="{040D6B34-F999-492D-6720-1881314C5551}"/>
          </ac:spMkLst>
        </pc:spChg>
        <pc:spChg chg="mod">
          <ac:chgData name="Das, Kamalika" userId="efceac1c-2cb2-48ca-8d9c-a271dcf53650" providerId="ADAL" clId="{B5D4CE8B-4BAC-4AB7-8384-F62EDD19DFFB}" dt="2023-04-01T01:06:00.999" v="292" actId="164"/>
          <ac:spMkLst>
            <pc:docMk/>
            <pc:sldMk cId="3352039146" sldId="258"/>
            <ac:spMk id="51" creationId="{8CFF8B06-A40D-712D-49C9-86956B068F5E}"/>
          </ac:spMkLst>
        </pc:spChg>
        <pc:spChg chg="mod">
          <ac:chgData name="Das, Kamalika" userId="efceac1c-2cb2-48ca-8d9c-a271dcf53650" providerId="ADAL" clId="{B5D4CE8B-4BAC-4AB7-8384-F62EDD19DFFB}" dt="2023-04-01T01:06:25.643" v="294" actId="164"/>
          <ac:spMkLst>
            <pc:docMk/>
            <pc:sldMk cId="3352039146" sldId="258"/>
            <ac:spMk id="53" creationId="{0AC6BE13-CCCE-AA39-B6CA-A43B100D6210}"/>
          </ac:spMkLst>
        </pc:spChg>
        <pc:spChg chg="mod">
          <ac:chgData name="Das, Kamalika" userId="efceac1c-2cb2-48ca-8d9c-a271dcf53650" providerId="ADAL" clId="{B5D4CE8B-4BAC-4AB7-8384-F62EDD19DFFB}" dt="2023-04-01T01:06:25.643" v="294" actId="164"/>
          <ac:spMkLst>
            <pc:docMk/>
            <pc:sldMk cId="3352039146" sldId="258"/>
            <ac:spMk id="54" creationId="{CA41A683-C368-10DD-80A3-2EC6343705E3}"/>
          </ac:spMkLst>
        </pc:spChg>
        <pc:spChg chg="mod">
          <ac:chgData name="Das, Kamalika" userId="efceac1c-2cb2-48ca-8d9c-a271dcf53650" providerId="ADAL" clId="{B5D4CE8B-4BAC-4AB7-8384-F62EDD19DFFB}" dt="2023-04-01T01:06:25.643" v="294" actId="164"/>
          <ac:spMkLst>
            <pc:docMk/>
            <pc:sldMk cId="3352039146" sldId="258"/>
            <ac:spMk id="57" creationId="{0E82A48B-40E2-D802-65A1-A20405C7F2F1}"/>
          </ac:spMkLst>
        </pc:spChg>
        <pc:spChg chg="mod">
          <ac:chgData name="Das, Kamalika" userId="efceac1c-2cb2-48ca-8d9c-a271dcf53650" providerId="ADAL" clId="{B5D4CE8B-4BAC-4AB7-8384-F62EDD19DFFB}" dt="2023-04-01T00:45:48.320" v="68" actId="6549"/>
          <ac:spMkLst>
            <pc:docMk/>
            <pc:sldMk cId="3352039146" sldId="258"/>
            <ac:spMk id="66" creationId="{E84C2C44-699B-6128-2DE5-1AD6C90B253B}"/>
          </ac:spMkLst>
        </pc:spChg>
        <pc:spChg chg="add mod">
          <ac:chgData name="Das, Kamalika" userId="efceac1c-2cb2-48ca-8d9c-a271dcf53650" providerId="ADAL" clId="{B5D4CE8B-4BAC-4AB7-8384-F62EDD19DFFB}" dt="2023-04-01T00:46:21.395" v="73" actId="20577"/>
          <ac:spMkLst>
            <pc:docMk/>
            <pc:sldMk cId="3352039146" sldId="258"/>
            <ac:spMk id="77" creationId="{6C3D9723-C981-BC1A-B128-E8D8989E6A95}"/>
          </ac:spMkLst>
        </pc:spChg>
        <pc:spChg chg="mod">
          <ac:chgData name="Das, Kamalika" userId="efceac1c-2cb2-48ca-8d9c-a271dcf53650" providerId="ADAL" clId="{B5D4CE8B-4BAC-4AB7-8384-F62EDD19DFFB}" dt="2023-04-01T00:51:02.270" v="112" actId="14100"/>
          <ac:spMkLst>
            <pc:docMk/>
            <pc:sldMk cId="3352039146" sldId="258"/>
            <ac:spMk id="108" creationId="{1E5FA84B-7F3C-8527-DAA8-EC1CF2B74FAC}"/>
          </ac:spMkLst>
        </pc:spChg>
        <pc:spChg chg="add del mod">
          <ac:chgData name="Das, Kamalika" userId="efceac1c-2cb2-48ca-8d9c-a271dcf53650" providerId="ADAL" clId="{B5D4CE8B-4BAC-4AB7-8384-F62EDD19DFFB}" dt="2023-04-01T00:47:54.269" v="78"/>
          <ac:spMkLst>
            <pc:docMk/>
            <pc:sldMk cId="3352039146" sldId="258"/>
            <ac:spMk id="114" creationId="{C36CB6DD-E8B2-68E0-AF94-EF2B60ED77F4}"/>
          </ac:spMkLst>
        </pc:spChg>
        <pc:spChg chg="add mod">
          <ac:chgData name="Das, Kamalika" userId="efceac1c-2cb2-48ca-8d9c-a271dcf53650" providerId="ADAL" clId="{B5D4CE8B-4BAC-4AB7-8384-F62EDD19DFFB}" dt="2023-04-01T00:48:32.529" v="88" actId="1076"/>
          <ac:spMkLst>
            <pc:docMk/>
            <pc:sldMk cId="3352039146" sldId="258"/>
            <ac:spMk id="116" creationId="{C67FCE66-4C34-3F16-FBED-B107CE0BB199}"/>
          </ac:spMkLst>
        </pc:spChg>
        <pc:spChg chg="add mod">
          <ac:chgData name="Das, Kamalika" userId="efceac1c-2cb2-48ca-8d9c-a271dcf53650" providerId="ADAL" clId="{B5D4CE8B-4BAC-4AB7-8384-F62EDD19DFFB}" dt="2023-04-01T00:49:15.531" v="98" actId="1076"/>
          <ac:spMkLst>
            <pc:docMk/>
            <pc:sldMk cId="3352039146" sldId="258"/>
            <ac:spMk id="117" creationId="{A9677A95-A9CA-6050-8878-A3D2CFB7A370}"/>
          </ac:spMkLst>
        </pc:spChg>
        <pc:spChg chg="mod">
          <ac:chgData name="Das, Kamalika" userId="efceac1c-2cb2-48ca-8d9c-a271dcf53650" providerId="ADAL" clId="{B5D4CE8B-4BAC-4AB7-8384-F62EDD19DFFB}" dt="2023-04-01T00:02:39.951" v="10" actId="20577"/>
          <ac:spMkLst>
            <pc:docMk/>
            <pc:sldMk cId="3352039146" sldId="258"/>
            <ac:spMk id="123" creationId="{3648BB91-E859-4C4E-5233-1DA51C30EECF}"/>
          </ac:spMkLst>
        </pc:spChg>
        <pc:spChg chg="mod">
          <ac:chgData name="Das, Kamalika" userId="efceac1c-2cb2-48ca-8d9c-a271dcf53650" providerId="ADAL" clId="{B5D4CE8B-4BAC-4AB7-8384-F62EDD19DFFB}" dt="2023-04-01T01:06:00.999" v="292" actId="164"/>
          <ac:spMkLst>
            <pc:docMk/>
            <pc:sldMk cId="3352039146" sldId="258"/>
            <ac:spMk id="135" creationId="{6BCF5059-7ED6-418A-D505-C445283ED557}"/>
          </ac:spMkLst>
        </pc:spChg>
        <pc:spChg chg="mod">
          <ac:chgData name="Das, Kamalika" userId="efceac1c-2cb2-48ca-8d9c-a271dcf53650" providerId="ADAL" clId="{B5D4CE8B-4BAC-4AB7-8384-F62EDD19DFFB}" dt="2023-04-01T01:06:00.999" v="292" actId="164"/>
          <ac:spMkLst>
            <pc:docMk/>
            <pc:sldMk cId="3352039146" sldId="258"/>
            <ac:spMk id="139" creationId="{CFA0E17E-AE63-2724-8586-62FC9E4AB0E2}"/>
          </ac:spMkLst>
        </pc:spChg>
        <pc:spChg chg="del mod">
          <ac:chgData name="Das, Kamalika" userId="efceac1c-2cb2-48ca-8d9c-a271dcf53650" providerId="ADAL" clId="{B5D4CE8B-4BAC-4AB7-8384-F62EDD19DFFB}" dt="2023-04-01T00:56:55.393" v="141" actId="478"/>
          <ac:spMkLst>
            <pc:docMk/>
            <pc:sldMk cId="3352039146" sldId="258"/>
            <ac:spMk id="706" creationId="{2C8C7ACA-811C-90F1-F671-FC302B61C59C}"/>
          </ac:spMkLst>
        </pc:spChg>
        <pc:spChg chg="mod">
          <ac:chgData name="Das, Kamalika" userId="efceac1c-2cb2-48ca-8d9c-a271dcf53650" providerId="ADAL" clId="{B5D4CE8B-4BAC-4AB7-8384-F62EDD19DFFB}" dt="2023-04-01T00:56:44.717" v="138" actId="14100"/>
          <ac:spMkLst>
            <pc:docMk/>
            <pc:sldMk cId="3352039146" sldId="258"/>
            <ac:spMk id="2112" creationId="{C95E7569-6C12-675F-478E-FBD880C97D66}"/>
          </ac:spMkLst>
        </pc:spChg>
        <pc:spChg chg="mod">
          <ac:chgData name="Das, Kamalika" userId="efceac1c-2cb2-48ca-8d9c-a271dcf53650" providerId="ADAL" clId="{B5D4CE8B-4BAC-4AB7-8384-F62EDD19DFFB}" dt="2023-04-01T00:55:50.544" v="129" actId="1076"/>
          <ac:spMkLst>
            <pc:docMk/>
            <pc:sldMk cId="3352039146" sldId="258"/>
            <ac:spMk id="2113" creationId="{03B6DD7E-C99F-CD4D-666D-5F7CE95B3A02}"/>
          </ac:spMkLst>
        </pc:spChg>
        <pc:spChg chg="mod">
          <ac:chgData name="Das, Kamalika" userId="efceac1c-2cb2-48ca-8d9c-a271dcf53650" providerId="ADAL" clId="{B5D4CE8B-4BAC-4AB7-8384-F62EDD19DFFB}" dt="2023-04-01T00:08:00.393" v="23" actId="14100"/>
          <ac:spMkLst>
            <pc:docMk/>
            <pc:sldMk cId="3352039146" sldId="258"/>
            <ac:spMk id="16423" creationId="{1776D07D-2F99-1DFE-BBB5-9AE2772ED91B}"/>
          </ac:spMkLst>
        </pc:spChg>
        <pc:spChg chg="mod">
          <ac:chgData name="Das, Kamalika" userId="efceac1c-2cb2-48ca-8d9c-a271dcf53650" providerId="ADAL" clId="{B5D4CE8B-4BAC-4AB7-8384-F62EDD19DFFB}" dt="2023-04-01T00:08:27.914" v="28" actId="1076"/>
          <ac:spMkLst>
            <pc:docMk/>
            <pc:sldMk cId="3352039146" sldId="258"/>
            <ac:spMk id="16424" creationId="{EAD221E1-A9E5-83C5-5BA0-6766912B68D6}"/>
          </ac:spMkLst>
        </pc:spChg>
        <pc:spChg chg="mod">
          <ac:chgData name="Das, Kamalika" userId="efceac1c-2cb2-48ca-8d9c-a271dcf53650" providerId="ADAL" clId="{B5D4CE8B-4BAC-4AB7-8384-F62EDD19DFFB}" dt="2023-04-01T00:55:21.643" v="122" actId="1076"/>
          <ac:spMkLst>
            <pc:docMk/>
            <pc:sldMk cId="3352039146" sldId="258"/>
            <ac:spMk id="16446" creationId="{BE6078F6-DE85-C3D7-4426-D4D9C024671C}"/>
          </ac:spMkLst>
        </pc:spChg>
        <pc:spChg chg="mod">
          <ac:chgData name="Das, Kamalika" userId="efceac1c-2cb2-48ca-8d9c-a271dcf53650" providerId="ADAL" clId="{B5D4CE8B-4BAC-4AB7-8384-F62EDD19DFFB}" dt="2023-04-01T00:55:32.946" v="125" actId="14100"/>
          <ac:spMkLst>
            <pc:docMk/>
            <pc:sldMk cId="3352039146" sldId="258"/>
            <ac:spMk id="16447" creationId="{8F9CEED8-24A2-B672-2AEB-9D4C92157197}"/>
          </ac:spMkLst>
        </pc:spChg>
        <pc:grpChg chg="mod">
          <ac:chgData name="Das, Kamalika" userId="efceac1c-2cb2-48ca-8d9c-a271dcf53650" providerId="ADAL" clId="{B5D4CE8B-4BAC-4AB7-8384-F62EDD19DFFB}" dt="2023-04-01T00:08:00.393" v="23" actId="14100"/>
          <ac:grpSpMkLst>
            <pc:docMk/>
            <pc:sldMk cId="3352039146" sldId="258"/>
            <ac:grpSpMk id="3" creationId="{7F740283-7A26-610D-70C4-B4E3818A14D9}"/>
          </ac:grpSpMkLst>
        </pc:grpChg>
        <pc:grpChg chg="add mod">
          <ac:chgData name="Das, Kamalika" userId="efceac1c-2cb2-48ca-8d9c-a271dcf53650" providerId="ADAL" clId="{B5D4CE8B-4BAC-4AB7-8384-F62EDD19DFFB}" dt="2023-04-01T01:06:00.999" v="292" actId="164"/>
          <ac:grpSpMkLst>
            <pc:docMk/>
            <pc:sldMk cId="3352039146" sldId="258"/>
            <ac:grpSpMk id="150" creationId="{E2732E33-55AD-7414-4B4D-F07E0839B24A}"/>
          </ac:grpSpMkLst>
        </pc:grpChg>
        <pc:grpChg chg="add mod">
          <ac:chgData name="Das, Kamalika" userId="efceac1c-2cb2-48ca-8d9c-a271dcf53650" providerId="ADAL" clId="{B5D4CE8B-4BAC-4AB7-8384-F62EDD19DFFB}" dt="2023-04-01T01:06:25.643" v="294" actId="164"/>
          <ac:grpSpMkLst>
            <pc:docMk/>
            <pc:sldMk cId="3352039146" sldId="258"/>
            <ac:grpSpMk id="151" creationId="{43AFD6BD-24C1-FAE6-877A-CA1A82A85B55}"/>
          </ac:grpSpMkLst>
        </pc:grpChg>
        <pc:picChg chg="mod">
          <ac:chgData name="Das, Kamalika" userId="efceac1c-2cb2-48ca-8d9c-a271dcf53650" providerId="ADAL" clId="{B5D4CE8B-4BAC-4AB7-8384-F62EDD19DFFB}" dt="2023-04-01T00:56:08.802" v="133" actId="14100"/>
          <ac:picMkLst>
            <pc:docMk/>
            <pc:sldMk cId="3352039146" sldId="258"/>
            <ac:picMk id="46" creationId="{C907218D-04A6-5EDA-3B3C-6EB5643BB346}"/>
          </ac:picMkLst>
        </pc:picChg>
        <pc:picChg chg="mod">
          <ac:chgData name="Das, Kamalika" userId="efceac1c-2cb2-48ca-8d9c-a271dcf53650" providerId="ADAL" clId="{B5D4CE8B-4BAC-4AB7-8384-F62EDD19DFFB}" dt="2023-04-01T00:45:12.720" v="31" actId="1076"/>
          <ac:picMkLst>
            <pc:docMk/>
            <pc:sldMk cId="3352039146" sldId="258"/>
            <ac:picMk id="62" creationId="{36D3FD7C-180B-E0AD-B10B-E9A8962179EF}"/>
          </ac:picMkLst>
        </pc:picChg>
        <pc:picChg chg="add mod">
          <ac:chgData name="Das, Kamalika" userId="efceac1c-2cb2-48ca-8d9c-a271dcf53650" providerId="ADAL" clId="{B5D4CE8B-4BAC-4AB7-8384-F62EDD19DFFB}" dt="2023-04-01T00:47:04.594" v="76" actId="1076"/>
          <ac:picMkLst>
            <pc:docMk/>
            <pc:sldMk cId="3352039146" sldId="258"/>
            <ac:picMk id="93" creationId="{BA4BFB4F-8DEE-9A7A-4163-BF1AB9CF6802}"/>
          </ac:picMkLst>
        </pc:picChg>
        <pc:picChg chg="mod">
          <ac:chgData name="Das, Kamalika" userId="efceac1c-2cb2-48ca-8d9c-a271dcf53650" providerId="ADAL" clId="{B5D4CE8B-4BAC-4AB7-8384-F62EDD19DFFB}" dt="2023-04-01T00:08:00.393" v="23" actId="14100"/>
          <ac:picMkLst>
            <pc:docMk/>
            <pc:sldMk cId="3352039146" sldId="258"/>
            <ac:picMk id="16425" creationId="{2A75126F-8608-3DEE-1084-3C0F15B8E316}"/>
          </ac:picMkLst>
        </pc:picChg>
        <pc:picChg chg="mod">
          <ac:chgData name="Das, Kamalika" userId="efceac1c-2cb2-48ca-8d9c-a271dcf53650" providerId="ADAL" clId="{B5D4CE8B-4BAC-4AB7-8384-F62EDD19DFFB}" dt="2023-04-01T00:56:28.664" v="136" actId="1076"/>
          <ac:picMkLst>
            <pc:docMk/>
            <pc:sldMk cId="3352039146" sldId="258"/>
            <ac:picMk id="17410" creationId="{A802BA4F-366B-538C-3363-37B8E4FB90C0}"/>
          </ac:picMkLst>
        </pc:picChg>
        <pc:cxnChg chg="mod">
          <ac:chgData name="Das, Kamalika" userId="efceac1c-2cb2-48ca-8d9c-a271dcf53650" providerId="ADAL" clId="{B5D4CE8B-4BAC-4AB7-8384-F62EDD19DFFB}" dt="2023-04-01T00:57:19.293" v="198" actId="1035"/>
          <ac:cxnSpMkLst>
            <pc:docMk/>
            <pc:sldMk cId="3352039146" sldId="258"/>
            <ac:cxnSpMk id="38" creationId="{4EF49B87-0CD0-4F15-9D69-6AD7C5E2D872}"/>
          </ac:cxnSpMkLst>
        </pc:cxnChg>
        <pc:cxnChg chg="mod">
          <ac:chgData name="Das, Kamalika" userId="efceac1c-2cb2-48ca-8d9c-a271dcf53650" providerId="ADAL" clId="{B5D4CE8B-4BAC-4AB7-8384-F62EDD19DFFB}" dt="2023-04-01T00:52:57.934" v="118" actId="14861"/>
          <ac:cxnSpMkLst>
            <pc:docMk/>
            <pc:sldMk cId="3352039146" sldId="258"/>
            <ac:cxnSpMk id="104" creationId="{0100127B-7B38-0B12-4820-ED84211D826B}"/>
          </ac:cxnSpMkLst>
        </pc:cxnChg>
        <pc:cxnChg chg="mod">
          <ac:chgData name="Das, Kamalika" userId="efceac1c-2cb2-48ca-8d9c-a271dcf53650" providerId="ADAL" clId="{B5D4CE8B-4BAC-4AB7-8384-F62EDD19DFFB}" dt="2023-04-01T00:53:04.175" v="119" actId="14861"/>
          <ac:cxnSpMkLst>
            <pc:docMk/>
            <pc:sldMk cId="3352039146" sldId="258"/>
            <ac:cxnSpMk id="106" creationId="{F7CA63E7-291F-BA32-1EAB-77641DB70A98}"/>
          </ac:cxnSpMkLst>
        </pc:cxnChg>
        <pc:cxnChg chg="mod">
          <ac:chgData name="Das, Kamalika" userId="efceac1c-2cb2-48ca-8d9c-a271dcf53650" providerId="ADAL" clId="{B5D4CE8B-4BAC-4AB7-8384-F62EDD19DFFB}" dt="2023-04-01T00:52:49.468" v="117" actId="14861"/>
          <ac:cxnSpMkLst>
            <pc:docMk/>
            <pc:sldMk cId="3352039146" sldId="258"/>
            <ac:cxnSpMk id="107" creationId="{DAB0A20F-CD1C-7460-8F12-F757FF684F3F}"/>
          </ac:cxnSpMkLst>
        </pc:cxnChg>
        <pc:cxnChg chg="add del mod">
          <ac:chgData name="Das, Kamalika" userId="efceac1c-2cb2-48ca-8d9c-a271dcf53650" providerId="ADAL" clId="{B5D4CE8B-4BAC-4AB7-8384-F62EDD19DFFB}" dt="2023-04-01T00:49:47.928" v="100" actId="478"/>
          <ac:cxnSpMkLst>
            <pc:docMk/>
            <pc:sldMk cId="3352039146" sldId="258"/>
            <ac:cxnSpMk id="119" creationId="{8BDF37CB-7423-5F29-B11A-65981B0075BC}"/>
          </ac:cxnSpMkLst>
        </pc:cxnChg>
        <pc:cxnChg chg="add del">
          <ac:chgData name="Das, Kamalika" userId="efceac1c-2cb2-48ca-8d9c-a271dcf53650" providerId="ADAL" clId="{B5D4CE8B-4BAC-4AB7-8384-F62EDD19DFFB}" dt="2023-04-01T00:51:32.566" v="114" actId="478"/>
          <ac:cxnSpMkLst>
            <pc:docMk/>
            <pc:sldMk cId="3352039146" sldId="258"/>
            <ac:cxnSpMk id="125" creationId="{6AC3962E-9CFF-0EA7-FDDD-5329E7A78CD8}"/>
          </ac:cxnSpMkLst>
        </pc:cxnChg>
      </pc:sldChg>
      <pc:sldChg chg="addSp delSp modSp add mod">
        <pc:chgData name="Das, Kamalika" userId="efceac1c-2cb2-48ca-8d9c-a271dcf53650" providerId="ADAL" clId="{B5D4CE8B-4BAC-4AB7-8384-F62EDD19DFFB}" dt="2023-04-01T02:21:42.984" v="1491" actId="1037"/>
        <pc:sldMkLst>
          <pc:docMk/>
          <pc:sldMk cId="1150007428" sldId="259"/>
        </pc:sldMkLst>
        <pc:spChg chg="mod">
          <ac:chgData name="Das, Kamalika" userId="efceac1c-2cb2-48ca-8d9c-a271dcf53650" providerId="ADAL" clId="{B5D4CE8B-4BAC-4AB7-8384-F62EDD19DFFB}" dt="2023-04-01T01:58:31.968" v="740" actId="14100"/>
          <ac:spMkLst>
            <pc:docMk/>
            <pc:sldMk cId="1150007428" sldId="259"/>
            <ac:spMk id="10" creationId="{63492AC6-4137-416C-80D7-23A7961A3E88}"/>
          </ac:spMkLst>
        </pc:spChg>
        <pc:spChg chg="mod">
          <ac:chgData name="Das, Kamalika" userId="efceac1c-2cb2-48ca-8d9c-a271dcf53650" providerId="ADAL" clId="{B5D4CE8B-4BAC-4AB7-8384-F62EDD19DFFB}" dt="2023-04-01T01:25:38.449" v="453" actId="14100"/>
          <ac:spMkLst>
            <pc:docMk/>
            <pc:sldMk cId="1150007428" sldId="259"/>
            <ac:spMk id="17" creationId="{F73A7715-E328-8591-1434-D1F1A793A863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19" creationId="{9770D471-9297-4286-5B14-B1AECB4F3480}"/>
          </ac:spMkLst>
        </pc:spChg>
        <pc:spChg chg="mod">
          <ac:chgData name="Das, Kamalika" userId="efceac1c-2cb2-48ca-8d9c-a271dcf53650" providerId="ADAL" clId="{B5D4CE8B-4BAC-4AB7-8384-F62EDD19DFFB}" dt="2023-04-01T02:21:42.984" v="1491" actId="1037"/>
          <ac:spMkLst>
            <pc:docMk/>
            <pc:sldMk cId="1150007428" sldId="259"/>
            <ac:spMk id="23" creationId="{9A13BD17-DE5E-0176-D56D-571E690D5A57}"/>
          </ac:spMkLst>
        </pc:spChg>
        <pc:spChg chg="mod">
          <ac:chgData name="Das, Kamalika" userId="efceac1c-2cb2-48ca-8d9c-a271dcf53650" providerId="ADAL" clId="{B5D4CE8B-4BAC-4AB7-8384-F62EDD19DFFB}" dt="2023-04-01T02:07:49.134" v="1222" actId="1076"/>
          <ac:spMkLst>
            <pc:docMk/>
            <pc:sldMk cId="1150007428" sldId="259"/>
            <ac:spMk id="24" creationId="{510F9D4B-2B1A-551D-6C97-5D3AA6C55128}"/>
          </ac:spMkLst>
        </pc:spChg>
        <pc:spChg chg="mod">
          <ac:chgData name="Das, Kamalika" userId="efceac1c-2cb2-48ca-8d9c-a271dcf53650" providerId="ADAL" clId="{B5D4CE8B-4BAC-4AB7-8384-F62EDD19DFFB}" dt="2023-04-01T01:25:56.869" v="467" actId="1037"/>
          <ac:spMkLst>
            <pc:docMk/>
            <pc:sldMk cId="1150007428" sldId="259"/>
            <ac:spMk id="25" creationId="{E29F21BB-5066-7220-4A52-48B9F9A7249C}"/>
          </ac:spMkLst>
        </pc:spChg>
        <pc:spChg chg="mod">
          <ac:chgData name="Das, Kamalika" userId="efceac1c-2cb2-48ca-8d9c-a271dcf53650" providerId="ADAL" clId="{B5D4CE8B-4BAC-4AB7-8384-F62EDD19DFFB}" dt="2023-04-01T01:33:28.556" v="547" actId="1036"/>
          <ac:spMkLst>
            <pc:docMk/>
            <pc:sldMk cId="1150007428" sldId="259"/>
            <ac:spMk id="26" creationId="{108BB51C-831A-4DCF-84FA-A04FECD426F8}"/>
          </ac:spMkLst>
        </pc:spChg>
        <pc:spChg chg="mod">
          <ac:chgData name="Das, Kamalika" userId="efceac1c-2cb2-48ca-8d9c-a271dcf53650" providerId="ADAL" clId="{B5D4CE8B-4BAC-4AB7-8384-F62EDD19DFFB}" dt="2023-04-01T02:19:37.690" v="1432" actId="1038"/>
          <ac:spMkLst>
            <pc:docMk/>
            <pc:sldMk cId="1150007428" sldId="259"/>
            <ac:spMk id="29" creationId="{1816D4F1-1588-E803-8E1E-BA772BDFCE9C}"/>
          </ac:spMkLst>
        </pc:spChg>
        <pc:spChg chg="mod">
          <ac:chgData name="Das, Kamalika" userId="efceac1c-2cb2-48ca-8d9c-a271dcf53650" providerId="ADAL" clId="{B5D4CE8B-4BAC-4AB7-8384-F62EDD19DFFB}" dt="2023-04-01T01:28:14.006" v="493" actId="1076"/>
          <ac:spMkLst>
            <pc:docMk/>
            <pc:sldMk cId="1150007428" sldId="259"/>
            <ac:spMk id="30" creationId="{5FEF4222-E608-47AF-12C7-C1D5AD1E8004}"/>
          </ac:spMkLst>
        </pc:spChg>
        <pc:spChg chg="mod">
          <ac:chgData name="Das, Kamalika" userId="efceac1c-2cb2-48ca-8d9c-a271dcf53650" providerId="ADAL" clId="{B5D4CE8B-4BAC-4AB7-8384-F62EDD19DFFB}" dt="2023-04-01T01:34:10.560" v="557" actId="1036"/>
          <ac:spMkLst>
            <pc:docMk/>
            <pc:sldMk cId="1150007428" sldId="259"/>
            <ac:spMk id="34" creationId="{1E691D5B-DEA8-4C56-96F7-361BD5DF17DE}"/>
          </ac:spMkLst>
        </pc:spChg>
        <pc:spChg chg="mod">
          <ac:chgData name="Das, Kamalika" userId="efceac1c-2cb2-48ca-8d9c-a271dcf53650" providerId="ADAL" clId="{B5D4CE8B-4BAC-4AB7-8384-F62EDD19DFFB}" dt="2023-04-01T01:34:10.560" v="557" actId="1036"/>
          <ac:spMkLst>
            <pc:docMk/>
            <pc:sldMk cId="1150007428" sldId="259"/>
            <ac:spMk id="36" creationId="{E9989D70-EF79-47D4-BB0B-547709F3D730}"/>
          </ac:spMkLst>
        </pc:spChg>
        <pc:spChg chg="mod">
          <ac:chgData name="Das, Kamalika" userId="efceac1c-2cb2-48ca-8d9c-a271dcf53650" providerId="ADAL" clId="{B5D4CE8B-4BAC-4AB7-8384-F62EDD19DFFB}" dt="2023-04-01T01:28:35.170" v="495" actId="1036"/>
          <ac:spMkLst>
            <pc:docMk/>
            <pc:sldMk cId="1150007428" sldId="259"/>
            <ac:spMk id="37" creationId="{F30A5DAD-87ED-14BC-E00E-6849B9B8FCB5}"/>
          </ac:spMkLst>
        </pc:spChg>
        <pc:spChg chg="mod">
          <ac:chgData name="Das, Kamalika" userId="efceac1c-2cb2-48ca-8d9c-a271dcf53650" providerId="ADAL" clId="{B5D4CE8B-4BAC-4AB7-8384-F62EDD19DFFB}" dt="2023-04-01T01:34:20.831" v="562" actId="1036"/>
          <ac:spMkLst>
            <pc:docMk/>
            <pc:sldMk cId="1150007428" sldId="259"/>
            <ac:spMk id="44" creationId="{040D6B34-F999-492D-6720-1881314C5551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45" creationId="{825BA958-86AD-C2FF-281F-303CD1BC841B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48" creationId="{B4853A2A-EE4A-8440-925A-6699B2619AA8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50" creationId="{876F1FB2-0C18-67C9-53DD-3FF6FFCFFD58}"/>
          </ac:spMkLst>
        </pc:spChg>
        <pc:spChg chg="del">
          <ac:chgData name="Das, Kamalika" userId="efceac1c-2cb2-48ca-8d9c-a271dcf53650" providerId="ADAL" clId="{B5D4CE8B-4BAC-4AB7-8384-F62EDD19DFFB}" dt="2023-04-01T01:06:56.846" v="300" actId="478"/>
          <ac:spMkLst>
            <pc:docMk/>
            <pc:sldMk cId="1150007428" sldId="259"/>
            <ac:spMk id="51" creationId="{8CFF8B06-A40D-712D-49C9-86956B068F5E}"/>
          </ac:spMkLst>
        </pc:spChg>
        <pc:spChg chg="del">
          <ac:chgData name="Das, Kamalika" userId="efceac1c-2cb2-48ca-8d9c-a271dcf53650" providerId="ADAL" clId="{B5D4CE8B-4BAC-4AB7-8384-F62EDD19DFFB}" dt="2023-04-01T01:00:11.405" v="205" actId="478"/>
          <ac:spMkLst>
            <pc:docMk/>
            <pc:sldMk cId="1150007428" sldId="259"/>
            <ac:spMk id="53" creationId="{0AC6BE13-CCCE-AA39-B6CA-A43B100D6210}"/>
          </ac:spMkLst>
        </pc:spChg>
        <pc:spChg chg="del">
          <ac:chgData name="Das, Kamalika" userId="efceac1c-2cb2-48ca-8d9c-a271dcf53650" providerId="ADAL" clId="{B5D4CE8B-4BAC-4AB7-8384-F62EDD19DFFB}" dt="2023-04-01T01:07:00.248" v="301" actId="478"/>
          <ac:spMkLst>
            <pc:docMk/>
            <pc:sldMk cId="1150007428" sldId="259"/>
            <ac:spMk id="54" creationId="{CA41A683-C368-10DD-80A3-2EC6343705E3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56" creationId="{DFA3F93D-984C-B6B6-F2CC-E7399DA748AF}"/>
          </ac:spMkLst>
        </pc:spChg>
        <pc:spChg chg="del">
          <ac:chgData name="Das, Kamalika" userId="efceac1c-2cb2-48ca-8d9c-a271dcf53650" providerId="ADAL" clId="{B5D4CE8B-4BAC-4AB7-8384-F62EDD19DFFB}" dt="2023-04-01T01:00:13.253" v="206" actId="478"/>
          <ac:spMkLst>
            <pc:docMk/>
            <pc:sldMk cId="1150007428" sldId="259"/>
            <ac:spMk id="57" creationId="{0E82A48B-40E2-D802-65A1-A20405C7F2F1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58" creationId="{27C063A1-9AEB-2D66-6B85-8ED148481693}"/>
          </ac:spMkLst>
        </pc:spChg>
        <pc:spChg chg="mod">
          <ac:chgData name="Das, Kamalika" userId="efceac1c-2cb2-48ca-8d9c-a271dcf53650" providerId="ADAL" clId="{B5D4CE8B-4BAC-4AB7-8384-F62EDD19DFFB}" dt="2023-04-01T01:59:26.144" v="782" actId="1038"/>
          <ac:spMkLst>
            <pc:docMk/>
            <pc:sldMk cId="1150007428" sldId="259"/>
            <ac:spMk id="60" creationId="{8151A4DD-81A4-4FA9-AC9C-C91365C073D5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61" creationId="{BDA8FF07-5798-D818-968E-DA7D82201224}"/>
          </ac:spMkLst>
        </pc:spChg>
        <pc:spChg chg="mod">
          <ac:chgData name="Das, Kamalika" userId="efceac1c-2cb2-48ca-8d9c-a271dcf53650" providerId="ADAL" clId="{B5D4CE8B-4BAC-4AB7-8384-F62EDD19DFFB}" dt="2023-04-01T02:20:17.823" v="1435" actId="1076"/>
          <ac:spMkLst>
            <pc:docMk/>
            <pc:sldMk cId="1150007428" sldId="259"/>
            <ac:spMk id="63" creationId="{97CA9C7E-75CF-4B4F-B23D-B9E6F06A8820}"/>
          </ac:spMkLst>
        </pc:spChg>
        <pc:spChg chg="mod">
          <ac:chgData name="Das, Kamalika" userId="efceac1c-2cb2-48ca-8d9c-a271dcf53650" providerId="ADAL" clId="{B5D4CE8B-4BAC-4AB7-8384-F62EDD19DFFB}" dt="2023-04-01T02:20:41.510" v="1441" actId="1038"/>
          <ac:spMkLst>
            <pc:docMk/>
            <pc:sldMk cId="1150007428" sldId="259"/>
            <ac:spMk id="64" creationId="{B4C592E6-539E-40D8-AD36-19E6A3EF344A}"/>
          </ac:spMkLst>
        </pc:spChg>
        <pc:spChg chg="mod">
          <ac:chgData name="Das, Kamalika" userId="efceac1c-2cb2-48ca-8d9c-a271dcf53650" providerId="ADAL" clId="{B5D4CE8B-4BAC-4AB7-8384-F62EDD19DFFB}" dt="2023-04-01T01:25:44.496" v="454" actId="14100"/>
          <ac:spMkLst>
            <pc:docMk/>
            <pc:sldMk cId="1150007428" sldId="259"/>
            <ac:spMk id="68" creationId="{D182C095-5D22-9C10-8D5F-0002AA62E3D2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80" creationId="{408219EF-1578-CF74-112E-45B5E2A0DC5B}"/>
          </ac:spMkLst>
        </pc:spChg>
        <pc:spChg chg="add mod">
          <ac:chgData name="Das, Kamalika" userId="efceac1c-2cb2-48ca-8d9c-a271dcf53650" providerId="ADAL" clId="{B5D4CE8B-4BAC-4AB7-8384-F62EDD19DFFB}" dt="2023-04-01T01:08:54.683" v="437" actId="1076"/>
          <ac:spMkLst>
            <pc:docMk/>
            <pc:sldMk cId="1150007428" sldId="259"/>
            <ac:spMk id="81" creationId="{1D2D663A-3270-E8F1-E949-A29105452F23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83" creationId="{7AFB26B7-267A-F5B8-AFE5-3B37CC6B1C1F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84" creationId="{4F819411-E8D0-C1B1-76FD-1061F1A03A81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86" creationId="{E92FF60D-3535-9702-9ECB-7121D73F2FA4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88" creationId="{D74AA83C-63FD-D361-83A0-90D71A31C190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89" creationId="{917C18F5-E721-C094-5F10-D1E3059C2A80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90" creationId="{F81134E0-2868-87F3-B162-4D53F16F75EB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91" creationId="{8FEA4410-B9A9-050C-181C-E70027C144F3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94" creationId="{FCB7BC34-8099-5727-A415-210E108FF2A3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95" creationId="{5AD0CFE5-1151-CF4D-9921-AC1C0EAF73E6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96" creationId="{8DC92614-141F-F81A-1A88-9C43A4B8BFA6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97" creationId="{F5EAD4A0-E7CA-975F-C93B-2AA620B50532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98" creationId="{31E6682B-5530-6673-DBF6-FBA64536C441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99" creationId="{8B999864-4B4C-B159-E49E-B456AF4C7851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100" creationId="{EAA3AD9C-BDE8-DDD4-F436-E92492E87942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101" creationId="{C5C30E61-5399-D2D9-868B-A512E334F2D8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102" creationId="{EF6B5435-B2AE-920B-E460-83B95E1CD58C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103" creationId="{36FAFFBF-DD06-DF0A-826A-C28F459BD54F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105" creationId="{F432B146-ECDD-5956-9F84-E8FB3E0D424A}"/>
          </ac:spMkLst>
        </pc:spChg>
        <pc:spChg chg="mod">
          <ac:chgData name="Das, Kamalika" userId="efceac1c-2cb2-48ca-8d9c-a271dcf53650" providerId="ADAL" clId="{B5D4CE8B-4BAC-4AB7-8384-F62EDD19DFFB}" dt="2023-04-01T01:09:08.819" v="440" actId="2085"/>
          <ac:spMkLst>
            <pc:docMk/>
            <pc:sldMk cId="1150007428" sldId="259"/>
            <ac:spMk id="108" creationId="{1E5FA84B-7F3C-8527-DAA8-EC1CF2B74FAC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109" creationId="{AE884849-D663-72EC-7842-D2EE0D534614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110" creationId="{CA838BE6-5F34-BF8B-2FC3-59C8FC99CEF6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111" creationId="{AFE9E8E0-B00D-FD76-A4DE-52C68E2F4178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112" creationId="{B9B7A0FF-C51A-7A80-BBC4-5CE11CA9C8D9}"/>
          </ac:spMkLst>
        </pc:spChg>
        <pc:spChg chg="mod">
          <ac:chgData name="Das, Kamalika" userId="efceac1c-2cb2-48ca-8d9c-a271dcf53650" providerId="ADAL" clId="{B5D4CE8B-4BAC-4AB7-8384-F62EDD19DFFB}" dt="2023-04-01T01:09:14.060" v="441" actId="2085"/>
          <ac:spMkLst>
            <pc:docMk/>
            <pc:sldMk cId="1150007428" sldId="259"/>
            <ac:spMk id="113" creationId="{C8439A76-BCDB-20F3-05FF-1FAC14DBF01B}"/>
          </ac:spMkLst>
        </pc:spChg>
        <pc:spChg chg="add mod">
          <ac:chgData name="Das, Kamalika" userId="efceac1c-2cb2-48ca-8d9c-a271dcf53650" providerId="ADAL" clId="{B5D4CE8B-4BAC-4AB7-8384-F62EDD19DFFB}" dt="2023-04-01T01:08:57.716" v="438" actId="1076"/>
          <ac:spMkLst>
            <pc:docMk/>
            <pc:sldMk cId="1150007428" sldId="259"/>
            <ac:spMk id="114" creationId="{02386E1D-1C87-E0E5-8B7B-7ABB81DC0F35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115" creationId="{F7360971-7D8E-B0FE-AA57-FF75F153FAAE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118" creationId="{08A85F77-0096-5FA3-55C1-D58C6502437B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120" creationId="{F5E05B69-A45C-E563-39C0-338E94ED9410}"/>
          </ac:spMkLst>
        </pc:spChg>
        <pc:spChg chg="mod">
          <ac:chgData name="Das, Kamalika" userId="efceac1c-2cb2-48ca-8d9c-a271dcf53650" providerId="ADAL" clId="{B5D4CE8B-4BAC-4AB7-8384-F62EDD19DFFB}" dt="2023-04-01T01:27:06.577" v="486" actId="20577"/>
          <ac:spMkLst>
            <pc:docMk/>
            <pc:sldMk cId="1150007428" sldId="259"/>
            <ac:spMk id="122" creationId="{0F0C00FB-DED0-54DE-CE7D-ED73C8DCD2CF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123" creationId="{3648BB91-E859-4C4E-5233-1DA51C30EECF}"/>
          </ac:spMkLst>
        </pc:spChg>
        <pc:spChg chg="mod">
          <ac:chgData name="Das, Kamalika" userId="efceac1c-2cb2-48ca-8d9c-a271dcf53650" providerId="ADAL" clId="{B5D4CE8B-4BAC-4AB7-8384-F62EDD19DFFB}" dt="2023-04-01T02:19:26.728" v="1406" actId="1038"/>
          <ac:spMkLst>
            <pc:docMk/>
            <pc:sldMk cId="1150007428" sldId="259"/>
            <ac:spMk id="124" creationId="{1EA30944-F8B4-3F7C-5679-1C1E6561812C}"/>
          </ac:spMkLst>
        </pc:spChg>
        <pc:spChg chg="mod">
          <ac:chgData name="Das, Kamalika" userId="efceac1c-2cb2-48ca-8d9c-a271dcf53650" providerId="ADAL" clId="{B5D4CE8B-4BAC-4AB7-8384-F62EDD19DFFB}" dt="2023-04-01T01:33:22.177" v="543" actId="1036"/>
          <ac:spMkLst>
            <pc:docMk/>
            <pc:sldMk cId="1150007428" sldId="259"/>
            <ac:spMk id="125" creationId="{F0C0D356-AC03-55ED-3AB2-71E18DB6B135}"/>
          </ac:spMkLst>
        </pc:spChg>
        <pc:spChg chg="del">
          <ac:chgData name="Das, Kamalika" userId="efceac1c-2cb2-48ca-8d9c-a271dcf53650" providerId="ADAL" clId="{B5D4CE8B-4BAC-4AB7-8384-F62EDD19DFFB}" dt="2023-04-01T00:58:59.974" v="203" actId="478"/>
          <ac:spMkLst>
            <pc:docMk/>
            <pc:sldMk cId="1150007428" sldId="259"/>
            <ac:spMk id="126" creationId="{E1D417B5-C7F4-FD51-38A5-A524F038C922}"/>
          </ac:spMkLst>
        </pc:spChg>
        <pc:spChg chg="mod">
          <ac:chgData name="Das, Kamalika" userId="efceac1c-2cb2-48ca-8d9c-a271dcf53650" providerId="ADAL" clId="{B5D4CE8B-4BAC-4AB7-8384-F62EDD19DFFB}" dt="2023-04-01T02:20:49.601" v="1442" actId="1076"/>
          <ac:spMkLst>
            <pc:docMk/>
            <pc:sldMk cId="1150007428" sldId="259"/>
            <ac:spMk id="127" creationId="{447A6D72-E873-EFAD-4E2C-0C66387B978C}"/>
          </ac:spMkLst>
        </pc:spChg>
        <pc:spChg chg="mod">
          <ac:chgData name="Das, Kamalika" userId="efceac1c-2cb2-48ca-8d9c-a271dcf53650" providerId="ADAL" clId="{B5D4CE8B-4BAC-4AB7-8384-F62EDD19DFFB}" dt="2023-04-01T02:02:47.420" v="1168" actId="1038"/>
          <ac:spMkLst>
            <pc:docMk/>
            <pc:sldMk cId="1150007428" sldId="259"/>
            <ac:spMk id="129" creationId="{136AE146-2840-3EFE-7A8D-6DA770B52C22}"/>
          </ac:spMkLst>
        </pc:spChg>
        <pc:spChg chg="mod">
          <ac:chgData name="Das, Kamalika" userId="efceac1c-2cb2-48ca-8d9c-a271dcf53650" providerId="ADAL" clId="{B5D4CE8B-4BAC-4AB7-8384-F62EDD19DFFB}" dt="2023-04-01T02:02:52.539" v="1185" actId="1038"/>
          <ac:spMkLst>
            <pc:docMk/>
            <pc:sldMk cId="1150007428" sldId="259"/>
            <ac:spMk id="130" creationId="{D4E4B536-BD1D-2B11-ED0B-9CE5D0C2316C}"/>
          </ac:spMkLst>
        </pc:spChg>
        <pc:spChg chg="mod">
          <ac:chgData name="Das, Kamalika" userId="efceac1c-2cb2-48ca-8d9c-a271dcf53650" providerId="ADAL" clId="{B5D4CE8B-4BAC-4AB7-8384-F62EDD19DFFB}" dt="2023-04-01T02:02:47.420" v="1168" actId="1038"/>
          <ac:spMkLst>
            <pc:docMk/>
            <pc:sldMk cId="1150007428" sldId="259"/>
            <ac:spMk id="131" creationId="{EA86F069-7405-5D06-7D16-CB5470C4D965}"/>
          </ac:spMkLst>
        </pc:spChg>
        <pc:spChg chg="mod">
          <ac:chgData name="Das, Kamalika" userId="efceac1c-2cb2-48ca-8d9c-a271dcf53650" providerId="ADAL" clId="{B5D4CE8B-4BAC-4AB7-8384-F62EDD19DFFB}" dt="2023-04-01T02:02:55.821" v="1186" actId="1076"/>
          <ac:spMkLst>
            <pc:docMk/>
            <pc:sldMk cId="1150007428" sldId="259"/>
            <ac:spMk id="132" creationId="{C0216979-E722-0227-49E0-464A9AA5BB3B}"/>
          </ac:spMkLst>
        </pc:spChg>
        <pc:spChg chg="mod">
          <ac:chgData name="Das, Kamalika" userId="efceac1c-2cb2-48ca-8d9c-a271dcf53650" providerId="ADAL" clId="{B5D4CE8B-4BAC-4AB7-8384-F62EDD19DFFB}" dt="2023-04-01T01:33:22.177" v="543" actId="1036"/>
          <ac:spMkLst>
            <pc:docMk/>
            <pc:sldMk cId="1150007428" sldId="259"/>
            <ac:spMk id="135" creationId="{053BE636-DE1A-7F4D-5FC6-4F16CE53FA10}"/>
          </ac:spMkLst>
        </pc:spChg>
        <pc:spChg chg="mod">
          <ac:chgData name="Das, Kamalika" userId="efceac1c-2cb2-48ca-8d9c-a271dcf53650" providerId="ADAL" clId="{B5D4CE8B-4BAC-4AB7-8384-F62EDD19DFFB}" dt="2023-04-01T01:33:22.177" v="543" actId="1036"/>
          <ac:spMkLst>
            <pc:docMk/>
            <pc:sldMk cId="1150007428" sldId="259"/>
            <ac:spMk id="139" creationId="{3E12E3AA-330B-3E24-32D6-5D207BD44D9B}"/>
          </ac:spMkLst>
        </pc:spChg>
        <pc:spChg chg="mod">
          <ac:chgData name="Das, Kamalika" userId="efceac1c-2cb2-48ca-8d9c-a271dcf53650" providerId="ADAL" clId="{B5D4CE8B-4BAC-4AB7-8384-F62EDD19DFFB}" dt="2023-04-01T02:08:54.757" v="1229" actId="14100"/>
          <ac:spMkLst>
            <pc:docMk/>
            <pc:sldMk cId="1150007428" sldId="259"/>
            <ac:spMk id="143" creationId="{0BA43450-ED6E-BC83-D553-2DF04780F0A0}"/>
          </ac:spMkLst>
        </pc:spChg>
        <pc:spChg chg="mod">
          <ac:chgData name="Das, Kamalika" userId="efceac1c-2cb2-48ca-8d9c-a271dcf53650" providerId="ADAL" clId="{B5D4CE8B-4BAC-4AB7-8384-F62EDD19DFFB}" dt="2023-04-01T02:08:50.847" v="1228" actId="14100"/>
          <ac:spMkLst>
            <pc:docMk/>
            <pc:sldMk cId="1150007428" sldId="259"/>
            <ac:spMk id="145" creationId="{EC281499-92F6-5DA0-2B45-46BED82AC813}"/>
          </ac:spMkLst>
        </pc:spChg>
        <pc:spChg chg="mod">
          <ac:chgData name="Das, Kamalika" userId="efceac1c-2cb2-48ca-8d9c-a271dcf53650" providerId="ADAL" clId="{B5D4CE8B-4BAC-4AB7-8384-F62EDD19DFFB}" dt="2023-04-01T02:08:41.319" v="1225" actId="1076"/>
          <ac:spMkLst>
            <pc:docMk/>
            <pc:sldMk cId="1150007428" sldId="259"/>
            <ac:spMk id="146" creationId="{D323F8BA-0E57-0F9D-DFB3-2BC1CC84AD66}"/>
          </ac:spMkLst>
        </pc:spChg>
        <pc:spChg chg="mod">
          <ac:chgData name="Das, Kamalika" userId="efceac1c-2cb2-48ca-8d9c-a271dcf53650" providerId="ADAL" clId="{B5D4CE8B-4BAC-4AB7-8384-F62EDD19DFFB}" dt="2023-04-01T02:00:26.459" v="897" actId="1038"/>
          <ac:spMkLst>
            <pc:docMk/>
            <pc:sldMk cId="1150007428" sldId="259"/>
            <ac:spMk id="147" creationId="{92330F4A-451F-C752-91C9-71F6B25AF3AD}"/>
          </ac:spMkLst>
        </pc:spChg>
        <pc:spChg chg="mod">
          <ac:chgData name="Das, Kamalika" userId="efceac1c-2cb2-48ca-8d9c-a271dcf53650" providerId="ADAL" clId="{B5D4CE8B-4BAC-4AB7-8384-F62EDD19DFFB}" dt="2023-04-01T02:00:30.843" v="901" actId="1038"/>
          <ac:spMkLst>
            <pc:docMk/>
            <pc:sldMk cId="1150007428" sldId="259"/>
            <ac:spMk id="148" creationId="{720B3051-87B3-7BD1-F37D-D3DE0A93EE4B}"/>
          </ac:spMkLst>
        </pc:spChg>
        <pc:spChg chg="mod">
          <ac:chgData name="Das, Kamalika" userId="efceac1c-2cb2-48ca-8d9c-a271dcf53650" providerId="ADAL" clId="{B5D4CE8B-4BAC-4AB7-8384-F62EDD19DFFB}" dt="2023-04-01T02:00:38.801" v="929" actId="1038"/>
          <ac:spMkLst>
            <pc:docMk/>
            <pc:sldMk cId="1150007428" sldId="259"/>
            <ac:spMk id="149" creationId="{4C252508-EFB0-E83E-8163-6A4C9A3835B4}"/>
          </ac:spMkLst>
        </pc:spChg>
        <pc:spChg chg="mod">
          <ac:chgData name="Das, Kamalika" userId="efceac1c-2cb2-48ca-8d9c-a271dcf53650" providerId="ADAL" clId="{B5D4CE8B-4BAC-4AB7-8384-F62EDD19DFFB}" dt="2023-04-01T01:33:16.690" v="538" actId="1036"/>
          <ac:spMkLst>
            <pc:docMk/>
            <pc:sldMk cId="1150007428" sldId="259"/>
            <ac:spMk id="151" creationId="{785B28C1-AAE4-9745-528C-B66C67C0A530}"/>
          </ac:spMkLst>
        </pc:spChg>
        <pc:spChg chg="mod">
          <ac:chgData name="Das, Kamalika" userId="efceac1c-2cb2-48ca-8d9c-a271dcf53650" providerId="ADAL" clId="{B5D4CE8B-4BAC-4AB7-8384-F62EDD19DFFB}" dt="2023-04-01T01:33:16.690" v="538" actId="1036"/>
          <ac:spMkLst>
            <pc:docMk/>
            <pc:sldMk cId="1150007428" sldId="259"/>
            <ac:spMk id="152" creationId="{B17ED84F-1C18-204C-6424-01059682F79C}"/>
          </ac:spMkLst>
        </pc:spChg>
        <pc:spChg chg="mod">
          <ac:chgData name="Das, Kamalika" userId="efceac1c-2cb2-48ca-8d9c-a271dcf53650" providerId="ADAL" clId="{B5D4CE8B-4BAC-4AB7-8384-F62EDD19DFFB}" dt="2023-04-01T01:33:16.690" v="538" actId="1036"/>
          <ac:spMkLst>
            <pc:docMk/>
            <pc:sldMk cId="1150007428" sldId="259"/>
            <ac:spMk id="153" creationId="{F51085A1-7CAC-7BA6-5693-9C3D978D1CCC}"/>
          </ac:spMkLst>
        </pc:spChg>
        <pc:spChg chg="mod">
          <ac:chgData name="Das, Kamalika" userId="efceac1c-2cb2-48ca-8d9c-a271dcf53650" providerId="ADAL" clId="{B5D4CE8B-4BAC-4AB7-8384-F62EDD19DFFB}" dt="2023-04-01T02:12:23.743" v="1320" actId="1076"/>
          <ac:spMkLst>
            <pc:docMk/>
            <pc:sldMk cId="1150007428" sldId="259"/>
            <ac:spMk id="155" creationId="{A605C776-CE26-B571-A393-26EB8F5BCCCD}"/>
          </ac:spMkLst>
        </pc:spChg>
        <pc:spChg chg="add del mod">
          <ac:chgData name="Das, Kamalika" userId="efceac1c-2cb2-48ca-8d9c-a271dcf53650" providerId="ADAL" clId="{B5D4CE8B-4BAC-4AB7-8384-F62EDD19DFFB}" dt="2023-04-01T01:47:57.429" v="633"/>
          <ac:spMkLst>
            <pc:docMk/>
            <pc:sldMk cId="1150007428" sldId="259"/>
            <ac:spMk id="156" creationId="{616FD3B8-A031-601A-C313-659F23091530}"/>
          </ac:spMkLst>
        </pc:spChg>
        <pc:spChg chg="mod">
          <ac:chgData name="Das, Kamalika" userId="efceac1c-2cb2-48ca-8d9c-a271dcf53650" providerId="ADAL" clId="{B5D4CE8B-4BAC-4AB7-8384-F62EDD19DFFB}" dt="2023-04-01T02:00:03.213" v="809" actId="164"/>
          <ac:spMkLst>
            <pc:docMk/>
            <pc:sldMk cId="1150007428" sldId="259"/>
            <ac:spMk id="157" creationId="{61C44DFB-E14A-2DC4-5C08-A7AA1CB9950E}"/>
          </ac:spMkLst>
        </pc:spChg>
        <pc:spChg chg="mod">
          <ac:chgData name="Das, Kamalika" userId="efceac1c-2cb2-48ca-8d9c-a271dcf53650" providerId="ADAL" clId="{B5D4CE8B-4BAC-4AB7-8384-F62EDD19DFFB}" dt="2023-04-01T02:00:03.213" v="809" actId="164"/>
          <ac:spMkLst>
            <pc:docMk/>
            <pc:sldMk cId="1150007428" sldId="259"/>
            <ac:spMk id="158" creationId="{9379536F-1161-FB79-E7D7-BF47BBE898DC}"/>
          </ac:spMkLst>
        </pc:spChg>
        <pc:spChg chg="mod">
          <ac:chgData name="Das, Kamalika" userId="efceac1c-2cb2-48ca-8d9c-a271dcf53650" providerId="ADAL" clId="{B5D4CE8B-4BAC-4AB7-8384-F62EDD19DFFB}" dt="2023-04-01T02:02:06.682" v="1137" actId="167"/>
          <ac:spMkLst>
            <pc:docMk/>
            <pc:sldMk cId="1150007428" sldId="259"/>
            <ac:spMk id="159" creationId="{904DDD21-3626-C181-8D2B-C869A1B8B73B}"/>
          </ac:spMkLst>
        </pc:spChg>
        <pc:spChg chg="add mod">
          <ac:chgData name="Das, Kamalika" userId="efceac1c-2cb2-48ca-8d9c-a271dcf53650" providerId="ADAL" clId="{B5D4CE8B-4BAC-4AB7-8384-F62EDD19DFFB}" dt="2023-04-01T02:11:53.758" v="1314" actId="20577"/>
          <ac:spMkLst>
            <pc:docMk/>
            <pc:sldMk cId="1150007428" sldId="259"/>
            <ac:spMk id="160" creationId="{890766E4-BD22-7739-DF02-0D8A3BABCA56}"/>
          </ac:spMkLst>
        </pc:spChg>
        <pc:spChg chg="mod ord">
          <ac:chgData name="Das, Kamalika" userId="efceac1c-2cb2-48ca-8d9c-a271dcf53650" providerId="ADAL" clId="{B5D4CE8B-4BAC-4AB7-8384-F62EDD19DFFB}" dt="2023-04-01T02:14:05.888" v="1358" actId="167"/>
          <ac:spMkLst>
            <pc:docMk/>
            <pc:sldMk cId="1150007428" sldId="259"/>
            <ac:spMk id="161" creationId="{0CDCFE59-6CD4-D9B1-3004-585B3D9778A2}"/>
          </ac:spMkLst>
        </pc:spChg>
        <pc:spChg chg="mod">
          <ac:chgData name="Das, Kamalika" userId="efceac1c-2cb2-48ca-8d9c-a271dcf53650" providerId="ADAL" clId="{B5D4CE8B-4BAC-4AB7-8384-F62EDD19DFFB}" dt="2023-04-01T02:00:15.292" v="864" actId="1038"/>
          <ac:spMkLst>
            <pc:docMk/>
            <pc:sldMk cId="1150007428" sldId="259"/>
            <ac:spMk id="173" creationId="{356C59DA-0CCD-A0DF-110B-9DDB88320AAE}"/>
          </ac:spMkLst>
        </pc:spChg>
        <pc:spChg chg="mod">
          <ac:chgData name="Das, Kamalika" userId="efceac1c-2cb2-48ca-8d9c-a271dcf53650" providerId="ADAL" clId="{B5D4CE8B-4BAC-4AB7-8384-F62EDD19DFFB}" dt="2023-04-01T02:01:22.390" v="1041" actId="14100"/>
          <ac:spMkLst>
            <pc:docMk/>
            <pc:sldMk cId="1150007428" sldId="259"/>
            <ac:spMk id="209" creationId="{231A1C19-1905-4CA9-9C87-3C1F35D48A04}"/>
          </ac:spMkLst>
        </pc:spChg>
        <pc:spChg chg="mod">
          <ac:chgData name="Das, Kamalika" userId="efceac1c-2cb2-48ca-8d9c-a271dcf53650" providerId="ADAL" clId="{B5D4CE8B-4BAC-4AB7-8384-F62EDD19DFFB}" dt="2023-04-01T02:18:51.941" v="1367" actId="1036"/>
          <ac:spMkLst>
            <pc:docMk/>
            <pc:sldMk cId="1150007428" sldId="259"/>
            <ac:spMk id="215" creationId="{E07925BF-CCB2-443C-9FE8-FE558EC7F144}"/>
          </ac:spMkLst>
        </pc:spChg>
        <pc:spChg chg="mod">
          <ac:chgData name="Das, Kamalika" userId="efceac1c-2cb2-48ca-8d9c-a271dcf53650" providerId="ADAL" clId="{B5D4CE8B-4BAC-4AB7-8384-F62EDD19DFFB}" dt="2023-04-01T01:59:39.713" v="801" actId="1037"/>
          <ac:spMkLst>
            <pc:docMk/>
            <pc:sldMk cId="1150007428" sldId="259"/>
            <ac:spMk id="216" creationId="{DCDFF37B-E28D-42AA-A095-47DDCB4A04D4}"/>
          </ac:spMkLst>
        </pc:spChg>
        <pc:spChg chg="mod">
          <ac:chgData name="Das, Kamalika" userId="efceac1c-2cb2-48ca-8d9c-a271dcf53650" providerId="ADAL" clId="{B5D4CE8B-4BAC-4AB7-8384-F62EDD19DFFB}" dt="2023-04-01T02:18:48.122" v="1363" actId="1076"/>
          <ac:spMkLst>
            <pc:docMk/>
            <pc:sldMk cId="1150007428" sldId="259"/>
            <ac:spMk id="220" creationId="{E24C946C-91E9-4486-8B6C-6C3CC59FA60A}"/>
          </ac:spMkLst>
        </pc:spChg>
        <pc:spChg chg="mod">
          <ac:chgData name="Das, Kamalika" userId="efceac1c-2cb2-48ca-8d9c-a271dcf53650" providerId="ADAL" clId="{B5D4CE8B-4BAC-4AB7-8384-F62EDD19DFFB}" dt="2023-04-01T02:21:00.913" v="1460" actId="1076"/>
          <ac:spMkLst>
            <pc:docMk/>
            <pc:sldMk cId="1150007428" sldId="259"/>
            <ac:spMk id="223" creationId="{DE3D0217-2A80-3C34-F04E-AFC048B74899}"/>
          </ac:spMkLst>
        </pc:spChg>
        <pc:spChg chg="mod">
          <ac:chgData name="Das, Kamalika" userId="efceac1c-2cb2-48ca-8d9c-a271dcf53650" providerId="ADAL" clId="{B5D4CE8B-4BAC-4AB7-8384-F62EDD19DFFB}" dt="2023-04-01T02:20:54.142" v="1459" actId="1038"/>
          <ac:spMkLst>
            <pc:docMk/>
            <pc:sldMk cId="1150007428" sldId="259"/>
            <ac:spMk id="224" creationId="{4A5F7CFA-8EE3-50A6-C30F-B89DA6E0C459}"/>
          </ac:spMkLst>
        </pc:spChg>
        <pc:spChg chg="mod">
          <ac:chgData name="Das, Kamalika" userId="efceac1c-2cb2-48ca-8d9c-a271dcf53650" providerId="ADAL" clId="{B5D4CE8B-4BAC-4AB7-8384-F62EDD19DFFB}" dt="2023-04-01T02:21:07.215" v="1488" actId="1038"/>
          <ac:spMkLst>
            <pc:docMk/>
            <pc:sldMk cId="1150007428" sldId="259"/>
            <ac:spMk id="225" creationId="{2310547C-4725-6CAB-E978-5571CBF70D2A}"/>
          </ac:spMkLst>
        </pc:spChg>
        <pc:spChg chg="mod">
          <ac:chgData name="Das, Kamalika" userId="efceac1c-2cb2-48ca-8d9c-a271dcf53650" providerId="ADAL" clId="{B5D4CE8B-4BAC-4AB7-8384-F62EDD19DFFB}" dt="2023-04-01T02:09:44.933" v="1238" actId="14100"/>
          <ac:spMkLst>
            <pc:docMk/>
            <pc:sldMk cId="1150007428" sldId="259"/>
            <ac:spMk id="242" creationId="{43507421-7EF3-2150-EBAD-1BD6C585E91E}"/>
          </ac:spMkLst>
        </pc:spChg>
        <pc:spChg chg="mod">
          <ac:chgData name="Das, Kamalika" userId="efceac1c-2cb2-48ca-8d9c-a271dcf53650" providerId="ADAL" clId="{B5D4CE8B-4BAC-4AB7-8384-F62EDD19DFFB}" dt="2023-04-01T02:06:50.602" v="1212" actId="120"/>
          <ac:spMkLst>
            <pc:docMk/>
            <pc:sldMk cId="1150007428" sldId="259"/>
            <ac:spMk id="243" creationId="{0CF8339D-04FA-EF6F-A7F2-6593C7E0FE67}"/>
          </ac:spMkLst>
        </pc:spChg>
        <pc:spChg chg="mod">
          <ac:chgData name="Das, Kamalika" userId="efceac1c-2cb2-48ca-8d9c-a271dcf53650" providerId="ADAL" clId="{B5D4CE8B-4BAC-4AB7-8384-F62EDD19DFFB}" dt="2023-04-01T02:14:17.302" v="1359" actId="1076"/>
          <ac:spMkLst>
            <pc:docMk/>
            <pc:sldMk cId="1150007428" sldId="259"/>
            <ac:spMk id="719" creationId="{DE6529F8-89E7-0A6F-FFF9-E44717EEF6BF}"/>
          </ac:spMkLst>
        </pc:spChg>
        <pc:spChg chg="mod">
          <ac:chgData name="Das, Kamalika" userId="efceac1c-2cb2-48ca-8d9c-a271dcf53650" providerId="ADAL" clId="{B5D4CE8B-4BAC-4AB7-8384-F62EDD19DFFB}" dt="2023-04-01T02:17:42.617" v="1361" actId="1076"/>
          <ac:spMkLst>
            <pc:docMk/>
            <pc:sldMk cId="1150007428" sldId="259"/>
            <ac:spMk id="720" creationId="{89E5A9BB-1E0F-5642-00B8-B0DF703022CC}"/>
          </ac:spMkLst>
        </pc:spChg>
        <pc:spChg chg="mod">
          <ac:chgData name="Das, Kamalika" userId="efceac1c-2cb2-48ca-8d9c-a271dcf53650" providerId="ADAL" clId="{B5D4CE8B-4BAC-4AB7-8384-F62EDD19DFFB}" dt="2023-04-01T01:26:18.401" v="469" actId="20577"/>
          <ac:spMkLst>
            <pc:docMk/>
            <pc:sldMk cId="1150007428" sldId="259"/>
            <ac:spMk id="725" creationId="{B21A753C-AB2C-7202-2926-061509E636FC}"/>
          </ac:spMkLst>
        </pc:spChg>
        <pc:spChg chg="mod">
          <ac:chgData name="Das, Kamalika" userId="efceac1c-2cb2-48ca-8d9c-a271dcf53650" providerId="ADAL" clId="{B5D4CE8B-4BAC-4AB7-8384-F62EDD19DFFB}" dt="2023-04-01T01:30:12.704" v="532" actId="14100"/>
          <ac:spMkLst>
            <pc:docMk/>
            <pc:sldMk cId="1150007428" sldId="259"/>
            <ac:spMk id="16423" creationId="{1776D07D-2F99-1DFE-BBB5-9AE2772ED91B}"/>
          </ac:spMkLst>
        </pc:spChg>
        <pc:spChg chg="mod">
          <ac:chgData name="Das, Kamalika" userId="efceac1c-2cb2-48ca-8d9c-a271dcf53650" providerId="ADAL" clId="{B5D4CE8B-4BAC-4AB7-8384-F62EDD19DFFB}" dt="2023-04-01T01:30:23.210" v="533" actId="1076"/>
          <ac:spMkLst>
            <pc:docMk/>
            <pc:sldMk cId="1150007428" sldId="259"/>
            <ac:spMk id="16424" creationId="{EAD221E1-A9E5-83C5-5BA0-6766912B68D6}"/>
          </ac:spMkLst>
        </pc:spChg>
        <pc:spChg chg="mod">
          <ac:chgData name="Das, Kamalika" userId="efceac1c-2cb2-48ca-8d9c-a271dcf53650" providerId="ADAL" clId="{B5D4CE8B-4BAC-4AB7-8384-F62EDD19DFFB}" dt="2023-04-01T02:13:34.700" v="1357" actId="14100"/>
          <ac:spMkLst>
            <pc:docMk/>
            <pc:sldMk cId="1150007428" sldId="259"/>
            <ac:spMk id="16444" creationId="{D713D194-E0A1-11A0-8E07-2A3012982A81}"/>
          </ac:spMkLst>
        </pc:spChg>
        <pc:spChg chg="mod">
          <ac:chgData name="Das, Kamalika" userId="efceac1c-2cb2-48ca-8d9c-a271dcf53650" providerId="ADAL" clId="{B5D4CE8B-4BAC-4AB7-8384-F62EDD19DFFB}" dt="2023-04-01T02:18:55.093" v="1368" actId="1036"/>
          <ac:spMkLst>
            <pc:docMk/>
            <pc:sldMk cId="1150007428" sldId="259"/>
            <ac:spMk id="16445" creationId="{2ED87A65-3A86-32DA-90D2-726DBF16AAB3}"/>
          </ac:spMkLst>
        </pc:spChg>
        <pc:grpChg chg="mod">
          <ac:chgData name="Das, Kamalika" userId="efceac1c-2cb2-48ca-8d9c-a271dcf53650" providerId="ADAL" clId="{B5D4CE8B-4BAC-4AB7-8384-F62EDD19DFFB}" dt="2023-04-01T01:30:12.704" v="532" actId="14100"/>
          <ac:grpSpMkLst>
            <pc:docMk/>
            <pc:sldMk cId="1150007428" sldId="259"/>
            <ac:grpSpMk id="3" creationId="{7F740283-7A26-610D-70C4-B4E3818A14D9}"/>
          </ac:grpSpMkLst>
        </pc:grpChg>
        <pc:grpChg chg="add mod">
          <ac:chgData name="Das, Kamalika" userId="efceac1c-2cb2-48ca-8d9c-a271dcf53650" providerId="ADAL" clId="{B5D4CE8B-4BAC-4AB7-8384-F62EDD19DFFB}" dt="2023-04-01T01:33:22.177" v="543" actId="1036"/>
          <ac:grpSpMkLst>
            <pc:docMk/>
            <pc:sldMk cId="1150007428" sldId="259"/>
            <ac:grpSpMk id="121" creationId="{12EA9B4F-7776-529E-9D31-413232D737A0}"/>
          </ac:grpSpMkLst>
        </pc:grpChg>
        <pc:grpChg chg="add mod">
          <ac:chgData name="Das, Kamalika" userId="efceac1c-2cb2-48ca-8d9c-a271dcf53650" providerId="ADAL" clId="{B5D4CE8B-4BAC-4AB7-8384-F62EDD19DFFB}" dt="2023-04-01T01:33:16.690" v="538" actId="1036"/>
          <ac:grpSpMkLst>
            <pc:docMk/>
            <pc:sldMk cId="1150007428" sldId="259"/>
            <ac:grpSpMk id="150" creationId="{B19405BF-6CEF-24E4-D9B0-AD3C1980A3F2}"/>
          </ac:grpSpMkLst>
        </pc:grpChg>
        <pc:grpChg chg="add mod">
          <ac:chgData name="Das, Kamalika" userId="efceac1c-2cb2-48ca-8d9c-a271dcf53650" providerId="ADAL" clId="{B5D4CE8B-4BAC-4AB7-8384-F62EDD19DFFB}" dt="2023-04-01T02:00:08.623" v="836" actId="1038"/>
          <ac:grpSpMkLst>
            <pc:docMk/>
            <pc:sldMk cId="1150007428" sldId="259"/>
            <ac:grpSpMk id="162" creationId="{11A80892-0B9C-098C-2B39-944334EBD1CD}"/>
          </ac:grpSpMkLst>
        </pc:grpChg>
        <pc:picChg chg="mod">
          <ac:chgData name="Das, Kamalika" userId="efceac1c-2cb2-48ca-8d9c-a271dcf53650" providerId="ADAL" clId="{B5D4CE8B-4BAC-4AB7-8384-F62EDD19DFFB}" dt="2023-04-01T02:06:29.246" v="1205" actId="14100"/>
          <ac:picMkLst>
            <pc:docMk/>
            <pc:sldMk cId="1150007428" sldId="259"/>
            <ac:picMk id="15" creationId="{5347A257-ED40-903A-3472-FAD5AD29A1E3}"/>
          </ac:picMkLst>
        </pc:picChg>
        <pc:picChg chg="del mod">
          <ac:chgData name="Das, Kamalika" userId="efceac1c-2cb2-48ca-8d9c-a271dcf53650" providerId="ADAL" clId="{B5D4CE8B-4BAC-4AB7-8384-F62EDD19DFFB}" dt="2023-04-01T02:07:52.701" v="1223" actId="478"/>
          <ac:picMkLst>
            <pc:docMk/>
            <pc:sldMk cId="1150007428" sldId="259"/>
            <ac:picMk id="21" creationId="{67812D31-F59D-6EC7-1445-67BE20540830}"/>
          </ac:picMkLst>
        </pc:picChg>
        <pc:picChg chg="add mod">
          <ac:chgData name="Das, Kamalika" userId="efceac1c-2cb2-48ca-8d9c-a271dcf53650" providerId="ADAL" clId="{B5D4CE8B-4BAC-4AB7-8384-F62EDD19DFFB}" dt="2023-04-01T01:09:00.184" v="439" actId="1076"/>
          <ac:picMkLst>
            <pc:docMk/>
            <pc:sldMk cId="1150007428" sldId="259"/>
            <ac:picMk id="119" creationId="{F2D9D92A-DEAD-A964-C13A-55A8D67E8F03}"/>
          </ac:picMkLst>
        </pc:picChg>
        <pc:picChg chg="mod">
          <ac:chgData name="Das, Kamalika" userId="efceac1c-2cb2-48ca-8d9c-a271dcf53650" providerId="ADAL" clId="{B5D4CE8B-4BAC-4AB7-8384-F62EDD19DFFB}" dt="2023-04-01T02:12:18.306" v="1319" actId="14100"/>
          <ac:picMkLst>
            <pc:docMk/>
            <pc:sldMk cId="1150007428" sldId="259"/>
            <ac:picMk id="154" creationId="{E904B181-6C5E-BCDA-23A4-1E76ABF5483D}"/>
          </ac:picMkLst>
        </pc:picChg>
        <pc:picChg chg="mod">
          <ac:chgData name="Das, Kamalika" userId="efceac1c-2cb2-48ca-8d9c-a271dcf53650" providerId="ADAL" clId="{B5D4CE8B-4BAC-4AB7-8384-F62EDD19DFFB}" dt="2023-04-01T02:17:33.735" v="1360" actId="208"/>
          <ac:picMkLst>
            <pc:docMk/>
            <pc:sldMk cId="1150007428" sldId="259"/>
            <ac:picMk id="171" creationId="{44D4D345-AF6C-7B8C-3420-630663F89406}"/>
          </ac:picMkLst>
        </pc:picChg>
        <pc:picChg chg="mod">
          <ac:chgData name="Das, Kamalika" userId="efceac1c-2cb2-48ca-8d9c-a271dcf53650" providerId="ADAL" clId="{B5D4CE8B-4BAC-4AB7-8384-F62EDD19DFFB}" dt="2023-04-01T01:30:12.704" v="532" actId="14100"/>
          <ac:picMkLst>
            <pc:docMk/>
            <pc:sldMk cId="1150007428" sldId="259"/>
            <ac:picMk id="16425" creationId="{2A75126F-8608-3DEE-1084-3C0F15B8E316}"/>
          </ac:picMkLst>
        </pc:picChg>
        <pc:cxnChg chg="mod">
          <ac:chgData name="Das, Kamalika" userId="efceac1c-2cb2-48ca-8d9c-a271dcf53650" providerId="ADAL" clId="{B5D4CE8B-4BAC-4AB7-8384-F62EDD19DFFB}" dt="2023-04-01T01:34:10.560" v="557" actId="1036"/>
          <ac:cxnSpMkLst>
            <pc:docMk/>
            <pc:sldMk cId="1150007428" sldId="259"/>
            <ac:cxnSpMk id="38" creationId="{4EF49B87-0CD0-4F15-9D69-6AD7C5E2D872}"/>
          </ac:cxnSpMkLst>
        </pc:cxnChg>
        <pc:cxnChg chg="mod">
          <ac:chgData name="Das, Kamalika" userId="efceac1c-2cb2-48ca-8d9c-a271dcf53650" providerId="ADAL" clId="{B5D4CE8B-4BAC-4AB7-8384-F62EDD19DFFB}" dt="2023-04-01T02:04:35.457" v="1200" actId="166"/>
          <ac:cxnSpMkLst>
            <pc:docMk/>
            <pc:sldMk cId="1150007428" sldId="259"/>
            <ac:cxnSpMk id="59" creationId="{C38BFAAA-48E0-4657-9A69-342B69C0DE4D}"/>
          </ac:cxnSpMkLst>
        </pc:cxnChg>
        <pc:cxnChg chg="mod">
          <ac:chgData name="Das, Kamalika" userId="efceac1c-2cb2-48ca-8d9c-a271dcf53650" providerId="ADAL" clId="{B5D4CE8B-4BAC-4AB7-8384-F62EDD19DFFB}" dt="2023-04-01T02:20:11.282" v="1434" actId="14100"/>
          <ac:cxnSpMkLst>
            <pc:docMk/>
            <pc:sldMk cId="1150007428" sldId="259"/>
            <ac:cxnSpMk id="65" creationId="{2A5596FE-4FC2-411E-B720-F3ED6345D646}"/>
          </ac:cxnSpMkLst>
        </pc:cxnChg>
        <pc:cxnChg chg="mod">
          <ac:chgData name="Das, Kamalika" userId="efceac1c-2cb2-48ca-8d9c-a271dcf53650" providerId="ADAL" clId="{B5D4CE8B-4BAC-4AB7-8384-F62EDD19DFFB}" dt="2023-04-01T02:19:03.796" v="1376" actId="1036"/>
          <ac:cxnSpMkLst>
            <pc:docMk/>
            <pc:sldMk cId="1150007428" sldId="259"/>
            <ac:cxnSpMk id="87" creationId="{2343C7AC-18A1-4005-A688-92466D6D9E48}"/>
          </ac:cxnSpMkLst>
        </pc:cxnChg>
        <pc:cxnChg chg="mod">
          <ac:chgData name="Das, Kamalika" userId="efceac1c-2cb2-48ca-8d9c-a271dcf53650" providerId="ADAL" clId="{B5D4CE8B-4BAC-4AB7-8384-F62EDD19DFFB}" dt="2023-04-01T01:34:10.560" v="557" actId="1036"/>
          <ac:cxnSpMkLst>
            <pc:docMk/>
            <pc:sldMk cId="1150007428" sldId="259"/>
            <ac:cxnSpMk id="92" creationId="{9582F389-BADC-43BB-B8C6-F5DB42D26F8F}"/>
          </ac:cxnSpMkLst>
        </pc:cxnChg>
        <pc:cxnChg chg="mod">
          <ac:chgData name="Das, Kamalika" userId="efceac1c-2cb2-48ca-8d9c-a271dcf53650" providerId="ADAL" clId="{B5D4CE8B-4BAC-4AB7-8384-F62EDD19DFFB}" dt="2023-04-01T02:12:10.664" v="1317" actId="1076"/>
          <ac:cxnSpMkLst>
            <pc:docMk/>
            <pc:sldMk cId="1150007428" sldId="259"/>
            <ac:cxnSpMk id="165" creationId="{BCC34E9D-42E3-C8C4-C209-2C10E100AA5D}"/>
          </ac:cxnSpMkLst>
        </pc:cxnChg>
        <pc:cxnChg chg="mod">
          <ac:chgData name="Das, Kamalika" userId="efceac1c-2cb2-48ca-8d9c-a271dcf53650" providerId="ADAL" clId="{B5D4CE8B-4BAC-4AB7-8384-F62EDD19DFFB}" dt="2023-04-01T02:12:29.537" v="1321" actId="1076"/>
          <ac:cxnSpMkLst>
            <pc:docMk/>
            <pc:sldMk cId="1150007428" sldId="259"/>
            <ac:cxnSpMk id="167" creationId="{14FB4A71-4B0D-7463-9FC0-E24765473BF5}"/>
          </ac:cxnSpMkLst>
        </pc:cxnChg>
        <pc:cxnChg chg="mod">
          <ac:chgData name="Das, Kamalika" userId="efceac1c-2cb2-48ca-8d9c-a271dcf53650" providerId="ADAL" clId="{B5D4CE8B-4BAC-4AB7-8384-F62EDD19DFFB}" dt="2023-04-01T02:02:47.420" v="1168" actId="1038"/>
          <ac:cxnSpMkLst>
            <pc:docMk/>
            <pc:sldMk cId="1150007428" sldId="259"/>
            <ac:cxnSpMk id="203" creationId="{7EB6960F-95A6-10EA-FDA4-74A32A4D7630}"/>
          </ac:cxnSpMkLst>
        </pc:cxnChg>
      </pc:sldChg>
      <pc:sldChg chg="addSp delSp modSp del mod">
        <pc:chgData name="Das, Kamalika" userId="efceac1c-2cb2-48ca-8d9c-a271dcf53650" providerId="ADAL" clId="{B5D4CE8B-4BAC-4AB7-8384-F62EDD19DFFB}" dt="2023-04-01T00:06:49.338" v="21" actId="47"/>
        <pc:sldMkLst>
          <pc:docMk/>
          <pc:sldMk cId="2611310183" sldId="259"/>
        </pc:sldMkLst>
        <pc:spChg chg="add mod">
          <ac:chgData name="Das, Kamalika" userId="efceac1c-2cb2-48ca-8d9c-a271dcf53650" providerId="ADAL" clId="{B5D4CE8B-4BAC-4AB7-8384-F62EDD19DFFB}" dt="2023-04-01T00:05:46.142" v="20" actId="207"/>
          <ac:spMkLst>
            <pc:docMk/>
            <pc:sldMk cId="2611310183" sldId="259"/>
            <ac:spMk id="57" creationId="{25F92076-C63F-8172-E951-1A60DACC2DA9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58" creationId="{263DF286-AB4D-2FFE-EC36-E77191208FE0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61" creationId="{AA16908D-2367-9B67-C4C1-B2C57957A9F9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62" creationId="{D137304D-E95D-BCC0-4772-1FEC9E457139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66" creationId="{FF94A08C-21B3-E499-C621-00096B7EB2EA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76" creationId="{40D98A66-29EE-663C-5031-5E1C4E80F0B7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81" creationId="{6E37ACCF-1796-76D0-AF29-E6C9FADED6A4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82" creationId="{6589379C-CB72-5A36-7D37-52A9034A2F27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83" creationId="{7CBE699A-4692-6561-3A9E-0C65A429FC86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84" creationId="{3E09E735-2CDE-B461-B5EA-90C6E5CD6D9A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85" creationId="{E73F9FA2-C236-ABD7-05B2-40F3746DDDF3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86" creationId="{AE642E07-AE9F-7DB0-6DBB-E166A15BED21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87" creationId="{F4F1D892-1911-DE87-9E71-3B9BA4671325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88" creationId="{727358BA-236D-3903-CC0A-8E08C09D59C4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89" creationId="{D924205F-CBD3-E164-BEC7-4C5724533699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90" creationId="{DF1E73EF-F46E-AF23-FE32-E53335F2D9EF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91" creationId="{E9126B00-4CBB-BA29-2D8F-73724E45D803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92" creationId="{57D2F913-221C-E7D8-1937-71250BB21501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93" creationId="{12456CF4-379E-1152-5330-796B5D26EA60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94" creationId="{05C5BDA2-8843-8EC0-A7D7-1DB68695FB29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95" creationId="{70EF1C54-C3C7-4D6C-B2CE-58B2B3A503E7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96" creationId="{7E5D6EA5-183D-5158-111B-E7A48B4EF8CF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97" creationId="{1CE1BF29-1A55-6370-ACC3-06EEC87B1F33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98" creationId="{C2562206-6DEF-6CF8-223F-DC512C8403A8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99" creationId="{754DF9FA-6FA2-EFB2-1D7F-AF1D109E7598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100" creationId="{5C12B36C-707E-A771-1C14-63685CB4E17E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101" creationId="{79B3131D-6154-0728-147C-FE3FB966D203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102" creationId="{0AE8359D-9745-4D2F-8C02-47DDCEDBE310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103" creationId="{521B23C0-CDE3-32FC-AA73-7A2E68B57CCC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104" creationId="{0A54660F-A949-2073-9DC2-5D4D0D6FED95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105" creationId="{097B7479-2B3E-DA93-9FA3-30EFFB0A2C70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106" creationId="{09BFFAFC-A3DF-9401-25FA-C46084AC2F99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107" creationId="{C65C0F81-4ABF-0D9A-FA24-06FB44070DB0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108" creationId="{6A746625-2B6C-A2AE-B001-80115C779E1F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109" creationId="{8B399D80-517D-D298-C8BC-FB87F5BB00B2}"/>
          </ac:spMkLst>
        </pc:spChg>
        <pc:spChg chg="add mod">
          <ac:chgData name="Das, Kamalika" userId="efceac1c-2cb2-48ca-8d9c-a271dcf53650" providerId="ADAL" clId="{B5D4CE8B-4BAC-4AB7-8384-F62EDD19DFFB}" dt="2023-04-01T00:03:24.100" v="15"/>
          <ac:spMkLst>
            <pc:docMk/>
            <pc:sldMk cId="2611310183" sldId="259"/>
            <ac:spMk id="110" creationId="{ACC18BB3-820C-C184-CC8B-DBF3837A7529}"/>
          </ac:spMkLst>
        </pc:spChg>
        <pc:spChg chg="add mod">
          <ac:chgData name="Das, Kamalika" userId="efceac1c-2cb2-48ca-8d9c-a271dcf53650" providerId="ADAL" clId="{B5D4CE8B-4BAC-4AB7-8384-F62EDD19DFFB}" dt="2023-04-01T00:03:48.389" v="17" actId="1037"/>
          <ac:spMkLst>
            <pc:docMk/>
            <pc:sldMk cId="2611310183" sldId="259"/>
            <ac:spMk id="111" creationId="{B42D2375-5AA9-8EAF-03BF-792156F98C60}"/>
          </ac:spMkLst>
        </pc:spChg>
        <pc:spChg chg="add del mod">
          <ac:chgData name="Das, Kamalika" userId="efceac1c-2cb2-48ca-8d9c-a271dcf53650" providerId="ADAL" clId="{B5D4CE8B-4BAC-4AB7-8384-F62EDD19DFFB}" dt="2023-04-01T00:05:25.452" v="19"/>
          <ac:spMkLst>
            <pc:docMk/>
            <pc:sldMk cId="2611310183" sldId="259"/>
            <ac:spMk id="112" creationId="{DB0267C8-4A8C-0798-943F-720165748A26}"/>
          </ac:spMkLst>
        </pc:spChg>
      </pc:sldChg>
    </pc:docChg>
  </pc:docChgLst>
  <pc:docChgLst>
    <pc:chgData name="Yuqiu Chen" userId="MnrWh4Omca2mq0vlakJ9AVbJY8wEjkw44dfs2ze2KE0=" providerId="None" clId="Web-{DFFB5DB5-5646-4A89-9170-E02E1A476624}"/>
    <pc:docChg chg="modSld">
      <pc:chgData name="Yuqiu Chen" userId="MnrWh4Omca2mq0vlakJ9AVbJY8wEjkw44dfs2ze2KE0=" providerId="None" clId="Web-{DFFB5DB5-5646-4A89-9170-E02E1A476624}" dt="2023-04-04T02:27:31.098" v="58" actId="1076"/>
      <pc:docMkLst>
        <pc:docMk/>
      </pc:docMkLst>
      <pc:sldChg chg="modSp">
        <pc:chgData name="Yuqiu Chen" userId="MnrWh4Omca2mq0vlakJ9AVbJY8wEjkw44dfs2ze2KE0=" providerId="None" clId="Web-{DFFB5DB5-5646-4A89-9170-E02E1A476624}" dt="2023-04-04T02:27:31.098" v="58" actId="1076"/>
        <pc:sldMkLst>
          <pc:docMk/>
          <pc:sldMk cId="1150007428" sldId="259"/>
        </pc:sldMkLst>
        <pc:spChg chg="mod">
          <ac:chgData name="Yuqiu Chen" userId="MnrWh4Omca2mq0vlakJ9AVbJY8wEjkw44dfs2ze2KE0=" providerId="None" clId="Web-{DFFB5DB5-5646-4A89-9170-E02E1A476624}" dt="2023-04-04T02:27:25.879" v="57" actId="1076"/>
          <ac:spMkLst>
            <pc:docMk/>
            <pc:sldMk cId="1150007428" sldId="259"/>
            <ac:spMk id="16406" creationId="{109FF069-46E2-61D0-631D-2E2DA2A2F745}"/>
          </ac:spMkLst>
        </pc:spChg>
        <pc:spChg chg="mod">
          <ac:chgData name="Yuqiu Chen" userId="MnrWh4Omca2mq0vlakJ9AVbJY8wEjkw44dfs2ze2KE0=" providerId="None" clId="Web-{DFFB5DB5-5646-4A89-9170-E02E1A476624}" dt="2023-04-04T02:27:31.098" v="58" actId="1076"/>
          <ac:spMkLst>
            <pc:docMk/>
            <pc:sldMk cId="1150007428" sldId="259"/>
            <ac:spMk id="16408" creationId="{3F946D4E-B3EA-1E1B-2FB2-3DA3578B5967}"/>
          </ac:spMkLst>
        </pc:spChg>
        <pc:spChg chg="mod">
          <ac:chgData name="Yuqiu Chen" userId="MnrWh4Omca2mq0vlakJ9AVbJY8wEjkw44dfs2ze2KE0=" providerId="None" clId="Web-{DFFB5DB5-5646-4A89-9170-E02E1A476624}" dt="2023-04-04T02:27:07.816" v="56" actId="1076"/>
          <ac:spMkLst>
            <pc:docMk/>
            <pc:sldMk cId="1150007428" sldId="259"/>
            <ac:spMk id="16424" creationId="{EAD221E1-A9E5-83C5-5BA0-6766912B68D6}"/>
          </ac:spMkLst>
        </pc:spChg>
      </pc:sldChg>
    </pc:docChg>
  </pc:docChgLst>
  <pc:docChgLst>
    <pc:chgData name="Yuqiu Chen" userId="MnrWh4Omca2mq0vlakJ9AVbJY8wEjkw44dfs2ze2KE0=" providerId="None" clId="Web-{1DCF1272-BEDA-4598-AE7F-41AB23427B04}"/>
    <pc:docChg chg="modSld">
      <pc:chgData name="Yuqiu Chen" userId="MnrWh4Omca2mq0vlakJ9AVbJY8wEjkw44dfs2ze2KE0=" providerId="None" clId="Web-{1DCF1272-BEDA-4598-AE7F-41AB23427B04}" dt="2023-03-23T22:18:17.827" v="70" actId="14100"/>
      <pc:docMkLst>
        <pc:docMk/>
      </pc:docMkLst>
      <pc:sldChg chg="modSp">
        <pc:chgData name="Yuqiu Chen" userId="MnrWh4Omca2mq0vlakJ9AVbJY8wEjkw44dfs2ze2KE0=" providerId="None" clId="Web-{1DCF1272-BEDA-4598-AE7F-41AB23427B04}" dt="2023-03-23T22:09:10.551" v="15" actId="20577"/>
        <pc:sldMkLst>
          <pc:docMk/>
          <pc:sldMk cId="1501710035" sldId="257"/>
        </pc:sldMkLst>
        <pc:spChg chg="mod">
          <ac:chgData name="Yuqiu Chen" userId="MnrWh4Omca2mq0vlakJ9AVbJY8wEjkw44dfs2ze2KE0=" providerId="None" clId="Web-{1DCF1272-BEDA-4598-AE7F-41AB23427B04}" dt="2023-03-23T22:09:08.129" v="13" actId="20577"/>
          <ac:spMkLst>
            <pc:docMk/>
            <pc:sldMk cId="1501710035" sldId="257"/>
            <ac:spMk id="16408" creationId="{3F946D4E-B3EA-1E1B-2FB2-3DA3578B5967}"/>
          </ac:spMkLst>
        </pc:spChg>
        <pc:spChg chg="mod">
          <ac:chgData name="Yuqiu Chen" userId="MnrWh4Omca2mq0vlakJ9AVbJY8wEjkw44dfs2ze2KE0=" providerId="None" clId="Web-{1DCF1272-BEDA-4598-AE7F-41AB23427B04}" dt="2023-03-23T22:09:10.551" v="15" actId="20577"/>
          <ac:spMkLst>
            <pc:docMk/>
            <pc:sldMk cId="1501710035" sldId="257"/>
            <ac:spMk id="16410" creationId="{AE014916-D8DF-3E9C-D160-DE0162BAF97F}"/>
          </ac:spMkLst>
        </pc:spChg>
        <pc:spChg chg="mod">
          <ac:chgData name="Yuqiu Chen" userId="MnrWh4Omca2mq0vlakJ9AVbJY8wEjkw44dfs2ze2KE0=" providerId="None" clId="Web-{1DCF1272-BEDA-4598-AE7F-41AB23427B04}" dt="2023-03-23T22:08:44.002" v="12" actId="20577"/>
          <ac:spMkLst>
            <pc:docMk/>
            <pc:sldMk cId="1501710035" sldId="257"/>
            <ac:spMk id="16414" creationId="{A424D45E-59AA-2EC9-915E-9BC6AAF73EBC}"/>
          </ac:spMkLst>
        </pc:spChg>
      </pc:sldChg>
      <pc:sldChg chg="addSp delSp modSp">
        <pc:chgData name="Yuqiu Chen" userId="MnrWh4Omca2mq0vlakJ9AVbJY8wEjkw44dfs2ze2KE0=" providerId="None" clId="Web-{1DCF1272-BEDA-4598-AE7F-41AB23427B04}" dt="2023-03-23T22:18:17.827" v="70" actId="14100"/>
        <pc:sldMkLst>
          <pc:docMk/>
          <pc:sldMk cId="3352039146" sldId="258"/>
        </pc:sldMkLst>
        <pc:spChg chg="mod">
          <ac:chgData name="Yuqiu Chen" userId="MnrWh4Omca2mq0vlakJ9AVbJY8wEjkw44dfs2ze2KE0=" providerId="None" clId="Web-{1DCF1272-BEDA-4598-AE7F-41AB23427B04}" dt="2023-03-23T22:16:22.209" v="19" actId="20577"/>
          <ac:spMkLst>
            <pc:docMk/>
            <pc:sldMk cId="3352039146" sldId="258"/>
            <ac:spMk id="16408" creationId="{3F946D4E-B3EA-1E1B-2FB2-3DA3578B5967}"/>
          </ac:spMkLst>
        </pc:spChg>
        <pc:spChg chg="mod">
          <ac:chgData name="Yuqiu Chen" userId="MnrWh4Omca2mq0vlakJ9AVbJY8wEjkw44dfs2ze2KE0=" providerId="None" clId="Web-{1DCF1272-BEDA-4598-AE7F-41AB23427B04}" dt="2023-03-23T22:16:24.428" v="20" actId="20577"/>
          <ac:spMkLst>
            <pc:docMk/>
            <pc:sldMk cId="3352039146" sldId="258"/>
            <ac:spMk id="16410" creationId="{AE014916-D8DF-3E9C-D160-DE0162BAF97F}"/>
          </ac:spMkLst>
        </pc:spChg>
        <pc:spChg chg="add del mod">
          <ac:chgData name="Yuqiu Chen" userId="MnrWh4Omca2mq0vlakJ9AVbJY8wEjkw44dfs2ze2KE0=" providerId="None" clId="Web-{1DCF1272-BEDA-4598-AE7F-41AB23427B04}" dt="2023-03-23T22:16:13.161" v="18" actId="20577"/>
          <ac:spMkLst>
            <pc:docMk/>
            <pc:sldMk cId="3352039146" sldId="258"/>
            <ac:spMk id="16414" creationId="{A424D45E-59AA-2EC9-915E-9BC6AAF73EBC}"/>
          </ac:spMkLst>
        </pc:spChg>
        <pc:spChg chg="mod">
          <ac:chgData name="Yuqiu Chen" userId="MnrWh4Omca2mq0vlakJ9AVbJY8wEjkw44dfs2ze2KE0=" providerId="None" clId="Web-{1DCF1272-BEDA-4598-AE7F-41AB23427B04}" dt="2023-03-23T22:18:17.827" v="70" actId="14100"/>
          <ac:spMkLst>
            <pc:docMk/>
            <pc:sldMk cId="3352039146" sldId="258"/>
            <ac:spMk id="16424" creationId="{EAD221E1-A9E5-83C5-5BA0-6766912B68D6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7567336-4EDE-4D00-85BA-78B033B09C7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629C332-A106-431A-8CF9-4C7E966767B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22431375" y="0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989CD4-C2C3-40A0-9FF9-B395EEEFAF44}" type="datetimeFigureOut">
              <a:rPr lang="en-US" smtClean="0"/>
              <a:t>4/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834825-B1F4-466C-B112-198737BB257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37615813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87FB0F-963F-4CF1-89EC-6C1F8FB613E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22431375" y="37615813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094531-855D-4471-89B7-0A3C8863AA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1621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22431375" y="0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E82495-20E6-4DC4-B68F-C6FBB8E26F6D}" type="datetimeFigureOut">
              <a:rPr lang="en-US" smtClean="0"/>
              <a:t>4/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435725" y="4949825"/>
            <a:ext cx="26730325" cy="13365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0813" y="19057938"/>
            <a:ext cx="31680150" cy="15592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37615813"/>
            <a:ext cx="17160875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2431375" y="37615813"/>
            <a:ext cx="17159288" cy="19843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A6B59D-2217-4338-9D1B-7E5E82C89B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4139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A6B59D-2217-4338-9D1B-7E5E82C89B8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630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92477" y="6817182"/>
            <a:ext cx="37306251" cy="47044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583365" y="12436025"/>
            <a:ext cx="30724475" cy="5607957"/>
          </a:xfrm>
        </p:spPr>
        <p:txBody>
          <a:bodyPr/>
          <a:lstStyle>
            <a:lvl1pPr marL="0" indent="0" algn="ctr">
              <a:buNone/>
              <a:defRPr/>
            </a:lvl1pPr>
            <a:lvl2pPr marL="261238" indent="0" algn="ctr">
              <a:buNone/>
              <a:defRPr/>
            </a:lvl2pPr>
            <a:lvl3pPr marL="522475" indent="0" algn="ctr">
              <a:buNone/>
              <a:defRPr/>
            </a:lvl3pPr>
            <a:lvl4pPr marL="783713" indent="0" algn="ctr">
              <a:buNone/>
              <a:defRPr/>
            </a:lvl4pPr>
            <a:lvl5pPr marL="1044950" indent="0" algn="ctr">
              <a:buNone/>
              <a:defRPr/>
            </a:lvl5pPr>
            <a:lvl6pPr marL="1306187" indent="0" algn="ctr">
              <a:buNone/>
              <a:defRPr/>
            </a:lvl6pPr>
            <a:lvl7pPr marL="1567425" indent="0" algn="ctr">
              <a:buNone/>
              <a:defRPr/>
            </a:lvl7pPr>
            <a:lvl8pPr marL="1828664" indent="0" algn="ctr">
              <a:buNone/>
              <a:defRPr/>
            </a:lvl8pPr>
            <a:lvl9pPr marL="2089901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E7914F9-150E-43ED-BA4B-5CBC7DBD3A27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3397727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A678339-05F4-4347-9E9C-6AEF31B1B524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5211670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1272165" y="1950361"/>
            <a:ext cx="9326563" cy="1755684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292476" y="1950361"/>
            <a:ext cx="27827288" cy="1755684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D5BFA30-CF48-4A8D-A4B4-5705D222FB1F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1443180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76114BF-9C08-4236-B599-3CC67DCBCE64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2879615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7102" y="14102444"/>
            <a:ext cx="37307839" cy="4357914"/>
          </a:xfrm>
        </p:spPr>
        <p:txBody>
          <a:bodyPr anchor="t"/>
          <a:lstStyle>
            <a:lvl1pPr algn="l">
              <a:defRPr sz="2286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67102" y="9301843"/>
            <a:ext cx="37307839" cy="4800600"/>
          </a:xfrm>
        </p:spPr>
        <p:txBody>
          <a:bodyPr anchor="b"/>
          <a:lstStyle>
            <a:lvl1pPr marL="0" indent="0">
              <a:buNone/>
              <a:defRPr sz="1143"/>
            </a:lvl1pPr>
            <a:lvl2pPr marL="261238" indent="0">
              <a:buNone/>
              <a:defRPr sz="1029"/>
            </a:lvl2pPr>
            <a:lvl3pPr marL="522475" indent="0">
              <a:buNone/>
              <a:defRPr sz="914"/>
            </a:lvl3pPr>
            <a:lvl4pPr marL="783713" indent="0">
              <a:buNone/>
              <a:defRPr sz="800"/>
            </a:lvl4pPr>
            <a:lvl5pPr marL="1044950" indent="0">
              <a:buNone/>
              <a:defRPr sz="800"/>
            </a:lvl5pPr>
            <a:lvl6pPr marL="1306187" indent="0">
              <a:buNone/>
              <a:defRPr sz="800"/>
            </a:lvl6pPr>
            <a:lvl7pPr marL="1567425" indent="0">
              <a:buNone/>
              <a:defRPr sz="800"/>
            </a:lvl7pPr>
            <a:lvl8pPr marL="1828664" indent="0">
              <a:buNone/>
              <a:defRPr sz="800"/>
            </a:lvl8pPr>
            <a:lvl9pPr marL="2089901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4C87C54-71D5-4F3D-9638-FB01B112514A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2372803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92476" y="6339115"/>
            <a:ext cx="18576925" cy="13168086"/>
          </a:xfrm>
        </p:spPr>
        <p:txBody>
          <a:bodyPr/>
          <a:lstStyle>
            <a:lvl1pPr>
              <a:defRPr sz="1600"/>
            </a:lvl1pPr>
            <a:lvl2pPr>
              <a:defRPr sz="1371"/>
            </a:lvl2pPr>
            <a:lvl3pPr>
              <a:defRPr sz="1143"/>
            </a:lvl3pPr>
            <a:lvl4pPr>
              <a:defRPr sz="1029"/>
            </a:lvl4pPr>
            <a:lvl5pPr>
              <a:defRPr sz="1029"/>
            </a:lvl5pPr>
            <a:lvl6pPr>
              <a:defRPr sz="1029"/>
            </a:lvl6pPr>
            <a:lvl7pPr>
              <a:defRPr sz="1029"/>
            </a:lvl7pPr>
            <a:lvl8pPr>
              <a:defRPr sz="1029"/>
            </a:lvl8pPr>
            <a:lvl9pPr>
              <a:defRPr sz="102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021804" y="6339115"/>
            <a:ext cx="18576925" cy="13168086"/>
          </a:xfrm>
        </p:spPr>
        <p:txBody>
          <a:bodyPr/>
          <a:lstStyle>
            <a:lvl1pPr>
              <a:defRPr sz="1600"/>
            </a:lvl1pPr>
            <a:lvl2pPr>
              <a:defRPr sz="1371"/>
            </a:lvl2pPr>
            <a:lvl3pPr>
              <a:defRPr sz="1143"/>
            </a:lvl3pPr>
            <a:lvl4pPr>
              <a:defRPr sz="1029"/>
            </a:lvl4pPr>
            <a:lvl5pPr>
              <a:defRPr sz="1029"/>
            </a:lvl5pPr>
            <a:lvl6pPr>
              <a:defRPr sz="1029"/>
            </a:lvl6pPr>
            <a:lvl7pPr>
              <a:defRPr sz="1029"/>
            </a:lvl7pPr>
            <a:lvl8pPr>
              <a:defRPr sz="1029"/>
            </a:lvl8pPr>
            <a:lvl9pPr>
              <a:defRPr sz="102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7EC6769-9FD1-495B-AF37-D39FB4533727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9192014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3927" y="879022"/>
            <a:ext cx="39503351" cy="36576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93924" y="4912182"/>
            <a:ext cx="19392901" cy="2047421"/>
          </a:xfrm>
        </p:spPr>
        <p:txBody>
          <a:bodyPr anchor="b"/>
          <a:lstStyle>
            <a:lvl1pPr marL="0" indent="0">
              <a:buNone/>
              <a:defRPr sz="1371" b="1"/>
            </a:lvl1pPr>
            <a:lvl2pPr marL="261238" indent="0">
              <a:buNone/>
              <a:defRPr sz="1143" b="1"/>
            </a:lvl2pPr>
            <a:lvl3pPr marL="522475" indent="0">
              <a:buNone/>
              <a:defRPr sz="1029" b="1"/>
            </a:lvl3pPr>
            <a:lvl4pPr marL="783713" indent="0">
              <a:buNone/>
              <a:defRPr sz="914" b="1"/>
            </a:lvl4pPr>
            <a:lvl5pPr marL="1044950" indent="0">
              <a:buNone/>
              <a:defRPr sz="914" b="1"/>
            </a:lvl5pPr>
            <a:lvl6pPr marL="1306187" indent="0">
              <a:buNone/>
              <a:defRPr sz="914" b="1"/>
            </a:lvl6pPr>
            <a:lvl7pPr marL="1567425" indent="0">
              <a:buNone/>
              <a:defRPr sz="914" b="1"/>
            </a:lvl7pPr>
            <a:lvl8pPr marL="1828664" indent="0">
              <a:buNone/>
              <a:defRPr sz="914" b="1"/>
            </a:lvl8pPr>
            <a:lvl9pPr marL="2089901" indent="0">
              <a:buNone/>
              <a:defRPr sz="91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93924" y="6959603"/>
            <a:ext cx="19392901" cy="12643757"/>
          </a:xfrm>
        </p:spPr>
        <p:txBody>
          <a:bodyPr/>
          <a:lstStyle>
            <a:lvl1pPr>
              <a:defRPr sz="1371"/>
            </a:lvl1pPr>
            <a:lvl2pPr>
              <a:defRPr sz="1143"/>
            </a:lvl2pPr>
            <a:lvl3pPr>
              <a:defRPr sz="1029"/>
            </a:lvl3pPr>
            <a:lvl4pPr>
              <a:defRPr sz="914"/>
            </a:lvl4pPr>
            <a:lvl5pPr>
              <a:defRPr sz="914"/>
            </a:lvl5pPr>
            <a:lvl6pPr>
              <a:defRPr sz="914"/>
            </a:lvl6pPr>
            <a:lvl7pPr>
              <a:defRPr sz="914"/>
            </a:lvl7pPr>
            <a:lvl8pPr>
              <a:defRPr sz="914"/>
            </a:lvl8pPr>
            <a:lvl9pPr>
              <a:defRPr sz="91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2296440" y="4912182"/>
            <a:ext cx="19400837" cy="2047421"/>
          </a:xfrm>
        </p:spPr>
        <p:txBody>
          <a:bodyPr anchor="b"/>
          <a:lstStyle>
            <a:lvl1pPr marL="0" indent="0">
              <a:buNone/>
              <a:defRPr sz="1371" b="1"/>
            </a:lvl1pPr>
            <a:lvl2pPr marL="261238" indent="0">
              <a:buNone/>
              <a:defRPr sz="1143" b="1"/>
            </a:lvl2pPr>
            <a:lvl3pPr marL="522475" indent="0">
              <a:buNone/>
              <a:defRPr sz="1029" b="1"/>
            </a:lvl3pPr>
            <a:lvl4pPr marL="783713" indent="0">
              <a:buNone/>
              <a:defRPr sz="914" b="1"/>
            </a:lvl4pPr>
            <a:lvl5pPr marL="1044950" indent="0">
              <a:buNone/>
              <a:defRPr sz="914" b="1"/>
            </a:lvl5pPr>
            <a:lvl6pPr marL="1306187" indent="0">
              <a:buNone/>
              <a:defRPr sz="914" b="1"/>
            </a:lvl6pPr>
            <a:lvl7pPr marL="1567425" indent="0">
              <a:buNone/>
              <a:defRPr sz="914" b="1"/>
            </a:lvl7pPr>
            <a:lvl8pPr marL="1828664" indent="0">
              <a:buNone/>
              <a:defRPr sz="914" b="1"/>
            </a:lvl8pPr>
            <a:lvl9pPr marL="2089901" indent="0">
              <a:buNone/>
              <a:defRPr sz="91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2296440" y="6959603"/>
            <a:ext cx="19400837" cy="12643757"/>
          </a:xfrm>
        </p:spPr>
        <p:txBody>
          <a:bodyPr/>
          <a:lstStyle>
            <a:lvl1pPr>
              <a:defRPr sz="1371"/>
            </a:lvl1pPr>
            <a:lvl2pPr>
              <a:defRPr sz="1143"/>
            </a:lvl2pPr>
            <a:lvl3pPr>
              <a:defRPr sz="1029"/>
            </a:lvl3pPr>
            <a:lvl4pPr>
              <a:defRPr sz="914"/>
            </a:lvl4pPr>
            <a:lvl5pPr>
              <a:defRPr sz="914"/>
            </a:lvl5pPr>
            <a:lvl6pPr>
              <a:defRPr sz="914"/>
            </a:lvl6pPr>
            <a:lvl7pPr>
              <a:defRPr sz="914"/>
            </a:lvl7pPr>
            <a:lvl8pPr>
              <a:defRPr sz="914"/>
            </a:lvl8pPr>
            <a:lvl9pPr>
              <a:defRPr sz="91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14340B-C24E-4CF1-8F2E-94BDA66FD75D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10124551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D7FF473-A988-4642-B695-D572F60BC774}" type="slidenum">
              <a:rPr lang="en-AU" altLang="en-US"/>
              <a:pPr/>
              <a:t>‹#›</a:t>
            </a:fld>
            <a:endParaRPr lang="en-AU" alt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8DFA2F5-AF6C-48B2-AC53-85384609B04A}"/>
              </a:ext>
            </a:extLst>
          </p:cNvPr>
          <p:cNvSpPr/>
          <p:nvPr userDrawn="1"/>
        </p:nvSpPr>
        <p:spPr bwMode="auto">
          <a:xfrm>
            <a:off x="0" y="0"/>
            <a:ext cx="43891200" cy="219456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60262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1171CD6-50C3-42F5-B102-ECB5C1E5D853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4671716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3927" y="873580"/>
            <a:ext cx="14439901" cy="3718378"/>
          </a:xfrm>
        </p:spPr>
        <p:txBody>
          <a:bodyPr anchor="b"/>
          <a:lstStyle>
            <a:lvl1pPr algn="l">
              <a:defRPr sz="114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160875" y="873580"/>
            <a:ext cx="24536400" cy="18729778"/>
          </a:xfrm>
        </p:spPr>
        <p:txBody>
          <a:bodyPr/>
          <a:lstStyle>
            <a:lvl1pPr>
              <a:defRPr sz="1828"/>
            </a:lvl1pPr>
            <a:lvl2pPr>
              <a:defRPr sz="1600"/>
            </a:lvl2pPr>
            <a:lvl3pPr>
              <a:defRPr sz="1371"/>
            </a:lvl3pPr>
            <a:lvl4pPr>
              <a:defRPr sz="1143"/>
            </a:lvl4pPr>
            <a:lvl5pPr>
              <a:defRPr sz="1143"/>
            </a:lvl5pPr>
            <a:lvl6pPr>
              <a:defRPr sz="1143"/>
            </a:lvl6pPr>
            <a:lvl7pPr>
              <a:defRPr sz="1143"/>
            </a:lvl7pPr>
            <a:lvl8pPr>
              <a:defRPr sz="1143"/>
            </a:lvl8pPr>
            <a:lvl9pPr>
              <a:defRPr sz="114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93927" y="4591957"/>
            <a:ext cx="14439901" cy="15011400"/>
          </a:xfrm>
        </p:spPr>
        <p:txBody>
          <a:bodyPr/>
          <a:lstStyle>
            <a:lvl1pPr marL="0" indent="0">
              <a:buNone/>
              <a:defRPr sz="800"/>
            </a:lvl1pPr>
            <a:lvl2pPr marL="261238" indent="0">
              <a:buNone/>
              <a:defRPr sz="686"/>
            </a:lvl2pPr>
            <a:lvl3pPr marL="522475" indent="0">
              <a:buNone/>
              <a:defRPr sz="571"/>
            </a:lvl3pPr>
            <a:lvl4pPr marL="783713" indent="0">
              <a:buNone/>
              <a:defRPr sz="514"/>
            </a:lvl4pPr>
            <a:lvl5pPr marL="1044950" indent="0">
              <a:buNone/>
              <a:defRPr sz="514"/>
            </a:lvl5pPr>
            <a:lvl6pPr marL="1306187" indent="0">
              <a:buNone/>
              <a:defRPr sz="514"/>
            </a:lvl6pPr>
            <a:lvl7pPr marL="1567425" indent="0">
              <a:buNone/>
              <a:defRPr sz="514"/>
            </a:lvl7pPr>
            <a:lvl8pPr marL="1828664" indent="0">
              <a:buNone/>
              <a:defRPr sz="514"/>
            </a:lvl8pPr>
            <a:lvl9pPr marL="2089901" indent="0">
              <a:buNone/>
              <a:defRPr sz="51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F27BF72-D86B-4CC1-A0A4-AB6BFFE07AFD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6677595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02664" y="15361558"/>
            <a:ext cx="26335037" cy="1814286"/>
          </a:xfrm>
        </p:spPr>
        <p:txBody>
          <a:bodyPr anchor="b"/>
          <a:lstStyle>
            <a:lvl1pPr algn="l">
              <a:defRPr sz="114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602664" y="1961246"/>
            <a:ext cx="26335037" cy="13167179"/>
          </a:xfrm>
        </p:spPr>
        <p:txBody>
          <a:bodyPr/>
          <a:lstStyle>
            <a:lvl1pPr marL="0" indent="0">
              <a:buNone/>
              <a:defRPr sz="1828"/>
            </a:lvl1pPr>
            <a:lvl2pPr marL="261238" indent="0">
              <a:buNone/>
              <a:defRPr sz="1600"/>
            </a:lvl2pPr>
            <a:lvl3pPr marL="522475" indent="0">
              <a:buNone/>
              <a:defRPr sz="1371"/>
            </a:lvl3pPr>
            <a:lvl4pPr marL="783713" indent="0">
              <a:buNone/>
              <a:defRPr sz="1143"/>
            </a:lvl4pPr>
            <a:lvl5pPr marL="1044950" indent="0">
              <a:buNone/>
              <a:defRPr sz="1143"/>
            </a:lvl5pPr>
            <a:lvl6pPr marL="1306187" indent="0">
              <a:buNone/>
              <a:defRPr sz="1143"/>
            </a:lvl6pPr>
            <a:lvl7pPr marL="1567425" indent="0">
              <a:buNone/>
              <a:defRPr sz="1143"/>
            </a:lvl7pPr>
            <a:lvl8pPr marL="1828664" indent="0">
              <a:buNone/>
              <a:defRPr sz="1143"/>
            </a:lvl8pPr>
            <a:lvl9pPr marL="2089901" indent="0">
              <a:buNone/>
              <a:defRPr sz="1143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02664" y="17175846"/>
            <a:ext cx="26335037" cy="2575379"/>
          </a:xfrm>
        </p:spPr>
        <p:txBody>
          <a:bodyPr/>
          <a:lstStyle>
            <a:lvl1pPr marL="0" indent="0">
              <a:buNone/>
              <a:defRPr sz="800"/>
            </a:lvl1pPr>
            <a:lvl2pPr marL="261238" indent="0">
              <a:buNone/>
              <a:defRPr sz="686"/>
            </a:lvl2pPr>
            <a:lvl3pPr marL="522475" indent="0">
              <a:buNone/>
              <a:defRPr sz="571"/>
            </a:lvl3pPr>
            <a:lvl4pPr marL="783713" indent="0">
              <a:buNone/>
              <a:defRPr sz="514"/>
            </a:lvl4pPr>
            <a:lvl5pPr marL="1044950" indent="0">
              <a:buNone/>
              <a:defRPr sz="514"/>
            </a:lvl5pPr>
            <a:lvl6pPr marL="1306187" indent="0">
              <a:buNone/>
              <a:defRPr sz="514"/>
            </a:lvl6pPr>
            <a:lvl7pPr marL="1567425" indent="0">
              <a:buNone/>
              <a:defRPr sz="514"/>
            </a:lvl7pPr>
            <a:lvl8pPr marL="1828664" indent="0">
              <a:buNone/>
              <a:defRPr sz="514"/>
            </a:lvl8pPr>
            <a:lvl9pPr marL="2089901" indent="0">
              <a:buNone/>
              <a:defRPr sz="51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A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3388DA4-D5E8-40AB-8BF2-B8F067ACA6A5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42040071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F49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3131672-2629-446D-8683-037301D2F0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65465374"/>
              </p:ext>
            </p:extLst>
          </p:nvPr>
        </p:nvGraphicFramePr>
        <p:xfrm>
          <a:off x="2117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3131672-2629-446D-8683-037301D2F0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7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025DE-683A-4BA3-8837-69516B12386A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1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5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panose="02020603050405020304" pitchFamily="18" charset="0"/>
              <a:ea typeface="+mj-ea"/>
              <a:cs typeface="+mj-cs"/>
              <a:sym typeface="Times" panose="02020603050405020304" pitchFamily="18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92477" y="1950360"/>
            <a:ext cx="37306251" cy="36585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AU" altLang="en-US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92477" y="6339115"/>
            <a:ext cx="37306251" cy="13168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AU" altLang="en-US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292475" y="19995243"/>
            <a:ext cx="9144000" cy="1463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>
            <a:lvl1pPr defTabSz="2508062">
              <a:defRPr sz="3828"/>
            </a:lvl1pPr>
          </a:lstStyle>
          <a:p>
            <a:endParaRPr lang="en-AU" alt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997117" y="19995243"/>
            <a:ext cx="13896975" cy="1463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>
            <a:lvl1pPr algn="ctr" defTabSz="2508062">
              <a:defRPr sz="3828"/>
            </a:lvl1pPr>
          </a:lstStyle>
          <a:p>
            <a:endParaRPr lang="en-AU" alt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1454725" y="19995243"/>
            <a:ext cx="9144000" cy="1463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38862" tIns="219432" rIns="438862" bIns="219432" numCol="1" anchor="t" anchorCtr="0" compatLnSpc="1">
            <a:prstTxWarp prst="textNoShape">
              <a:avLst/>
            </a:prstTxWarp>
          </a:bodyPr>
          <a:lstStyle>
            <a:lvl1pPr algn="r" defTabSz="2508062">
              <a:defRPr sz="3828"/>
            </a:lvl1pPr>
          </a:lstStyle>
          <a:p>
            <a:fld id="{777CDA11-CE27-4048-AD59-A3D9E025B8A2}" type="slidenum">
              <a:rPr lang="en-AU" altLang="en-US"/>
              <a:pPr/>
              <a:t>‹#›</a:t>
            </a:fld>
            <a:endParaRPr lang="en-AU" altLang="en-US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0"/>
            <a:ext cx="43891200" cy="21945600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14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93C017-DFEF-4FF3-B40E-2496F137D9AB}"/>
              </a:ext>
            </a:extLst>
          </p:cNvPr>
          <p:cNvSpPr/>
          <p:nvPr userDrawn="1"/>
        </p:nvSpPr>
        <p:spPr bwMode="auto">
          <a:xfrm>
            <a:off x="-101600" y="0"/>
            <a:ext cx="43992800" cy="219456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+mj-lt"/>
          <a:ea typeface="+mj-ea"/>
          <a:cs typeface="+mj-cs"/>
        </a:defRPr>
      </a:lvl1pPr>
      <a:lvl2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2pPr>
      <a:lvl3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3pPr>
      <a:lvl4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4pPr>
      <a:lvl5pPr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5pPr>
      <a:lvl6pPr marL="261238"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6pPr>
      <a:lvl7pPr marL="522475"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7pPr>
      <a:lvl8pPr marL="783713"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8pPr>
      <a:lvl9pPr marL="1044950" algn="ctr" defTabSz="2508062" rtl="0" eaLnBrk="1" fontAlgn="base" hangingPunct="1">
        <a:spcBef>
          <a:spcPct val="0"/>
        </a:spcBef>
        <a:spcAft>
          <a:spcPct val="0"/>
        </a:spcAft>
        <a:defRPr sz="12057">
          <a:solidFill>
            <a:schemeClr val="tx2"/>
          </a:solidFill>
          <a:latin typeface="Times" charset="0"/>
        </a:defRPr>
      </a:lvl9pPr>
    </p:titleStyle>
    <p:bodyStyle>
      <a:lvl1pPr marL="940637" indent="-940637" algn="l" defTabSz="2508062" rtl="0" eaLnBrk="1" fontAlgn="base" hangingPunct="1">
        <a:spcBef>
          <a:spcPct val="20000"/>
        </a:spcBef>
        <a:spcAft>
          <a:spcPct val="0"/>
        </a:spcAft>
        <a:buChar char="•"/>
        <a:defRPr sz="8742">
          <a:solidFill>
            <a:schemeClr val="tx1"/>
          </a:solidFill>
          <a:latin typeface="+mn-lt"/>
          <a:ea typeface="+mn-ea"/>
          <a:cs typeface="+mn-cs"/>
        </a:defRPr>
      </a:lvl1pPr>
      <a:lvl2pPr marL="2037290" indent="-783713" algn="l" defTabSz="2508062" rtl="0" eaLnBrk="1" fontAlgn="base" hangingPunct="1">
        <a:spcBef>
          <a:spcPct val="20000"/>
        </a:spcBef>
        <a:spcAft>
          <a:spcPct val="0"/>
        </a:spcAft>
        <a:buChar char="–"/>
        <a:defRPr sz="7714">
          <a:solidFill>
            <a:schemeClr val="tx1"/>
          </a:solidFill>
          <a:latin typeface="+mn-lt"/>
        </a:defRPr>
      </a:lvl2pPr>
      <a:lvl3pPr marL="3134851" indent="-626789" algn="l" defTabSz="2508062" rtl="0" eaLnBrk="1" fontAlgn="base" hangingPunct="1">
        <a:spcBef>
          <a:spcPct val="20000"/>
        </a:spcBef>
        <a:spcAft>
          <a:spcPct val="0"/>
        </a:spcAft>
        <a:buChar char="•"/>
        <a:defRPr sz="6571">
          <a:solidFill>
            <a:schemeClr val="tx1"/>
          </a:solidFill>
          <a:latin typeface="+mn-lt"/>
        </a:defRPr>
      </a:lvl3pPr>
      <a:lvl4pPr marL="4388429" indent="-626789" algn="l" defTabSz="2508062" rtl="0" eaLnBrk="1" fontAlgn="base" hangingPunct="1">
        <a:spcBef>
          <a:spcPct val="20000"/>
        </a:spcBef>
        <a:spcAft>
          <a:spcPct val="0"/>
        </a:spcAft>
        <a:buChar char="–"/>
        <a:defRPr sz="5485">
          <a:solidFill>
            <a:schemeClr val="tx1"/>
          </a:solidFill>
          <a:latin typeface="+mn-lt"/>
        </a:defRPr>
      </a:lvl4pPr>
      <a:lvl5pPr marL="5641099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5pPr>
      <a:lvl6pPr marL="5902337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6pPr>
      <a:lvl7pPr marL="6163574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7pPr>
      <a:lvl8pPr marL="6424811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8pPr>
      <a:lvl9pPr marL="6686049" indent="-625881" algn="l" defTabSz="2508062" rtl="0" eaLnBrk="1" fontAlgn="base" hangingPunct="1">
        <a:spcBef>
          <a:spcPct val="20000"/>
        </a:spcBef>
        <a:spcAft>
          <a:spcPct val="0"/>
        </a:spcAft>
        <a:buChar char="»"/>
        <a:defRPr sz="548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1pPr>
      <a:lvl2pPr marL="261238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2pPr>
      <a:lvl3pPr marL="522475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3pPr>
      <a:lvl4pPr marL="783713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4pPr>
      <a:lvl5pPr marL="1044950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5pPr>
      <a:lvl6pPr marL="1306187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6pPr>
      <a:lvl7pPr marL="1567425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7pPr>
      <a:lvl8pPr marL="1828664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8pPr>
      <a:lvl9pPr marL="2089901" algn="l" defTabSz="522475" rtl="0" eaLnBrk="1" latinLnBrk="0" hangingPunct="1">
        <a:defRPr sz="102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.png"/><Relationship Id="rId18" Type="http://schemas.openxmlformats.org/officeDocument/2006/relationships/image" Target="../media/image12.png"/><Relationship Id="rId26" Type="http://schemas.openxmlformats.org/officeDocument/2006/relationships/image" Target="../media/image20.png"/><Relationship Id="rId39" Type="http://schemas.openxmlformats.org/officeDocument/2006/relationships/image" Target="../media/image33.svg"/><Relationship Id="rId21" Type="http://schemas.openxmlformats.org/officeDocument/2006/relationships/image" Target="../media/image15.svg"/><Relationship Id="rId34" Type="http://schemas.openxmlformats.org/officeDocument/2006/relationships/image" Target="../media/image28.png"/><Relationship Id="rId42" Type="http://schemas.openxmlformats.org/officeDocument/2006/relationships/image" Target="../media/image36.jpeg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6" Type="http://schemas.openxmlformats.org/officeDocument/2006/relationships/image" Target="../media/image10.png"/><Relationship Id="rId20" Type="http://schemas.openxmlformats.org/officeDocument/2006/relationships/image" Target="../media/image14.png"/><Relationship Id="rId29" Type="http://schemas.openxmlformats.org/officeDocument/2006/relationships/image" Target="../media/image23.png"/><Relationship Id="rId41" Type="http://schemas.openxmlformats.org/officeDocument/2006/relationships/image" Target="../media/image35.png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11" Type="http://schemas.openxmlformats.org/officeDocument/2006/relationships/image" Target="../media/image5.jpeg"/><Relationship Id="rId24" Type="http://schemas.openxmlformats.org/officeDocument/2006/relationships/image" Target="../media/image18.png"/><Relationship Id="rId32" Type="http://schemas.openxmlformats.org/officeDocument/2006/relationships/image" Target="../media/image26.png"/><Relationship Id="rId37" Type="http://schemas.openxmlformats.org/officeDocument/2006/relationships/image" Target="../media/image31.png"/><Relationship Id="rId40" Type="http://schemas.openxmlformats.org/officeDocument/2006/relationships/image" Target="../media/image34.pn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9.jpeg"/><Relationship Id="rId23" Type="http://schemas.openxmlformats.org/officeDocument/2006/relationships/image" Target="../media/image17.png"/><Relationship Id="rId28" Type="http://schemas.openxmlformats.org/officeDocument/2006/relationships/image" Target="../media/image22.svg"/><Relationship Id="rId36" Type="http://schemas.openxmlformats.org/officeDocument/2006/relationships/image" Target="../media/image30.png"/><Relationship Id="rId10" Type="http://schemas.openxmlformats.org/officeDocument/2006/relationships/image" Target="../media/image4.png"/><Relationship Id="rId19" Type="http://schemas.openxmlformats.org/officeDocument/2006/relationships/image" Target="../media/image13.png"/><Relationship Id="rId31" Type="http://schemas.openxmlformats.org/officeDocument/2006/relationships/image" Target="../media/image25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.emf"/><Relationship Id="rId14" Type="http://schemas.openxmlformats.org/officeDocument/2006/relationships/image" Target="../media/image8.png"/><Relationship Id="rId22" Type="http://schemas.openxmlformats.org/officeDocument/2006/relationships/image" Target="../media/image16.png"/><Relationship Id="rId27" Type="http://schemas.openxmlformats.org/officeDocument/2006/relationships/image" Target="../media/image21.png"/><Relationship Id="rId30" Type="http://schemas.openxmlformats.org/officeDocument/2006/relationships/image" Target="../media/image24.png"/><Relationship Id="rId35" Type="http://schemas.openxmlformats.org/officeDocument/2006/relationships/image" Target="../media/image29.png"/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12" Type="http://schemas.openxmlformats.org/officeDocument/2006/relationships/image" Target="../media/image6.png"/><Relationship Id="rId17" Type="http://schemas.openxmlformats.org/officeDocument/2006/relationships/image" Target="../media/image11.png"/><Relationship Id="rId25" Type="http://schemas.openxmlformats.org/officeDocument/2006/relationships/image" Target="../media/image19.png"/><Relationship Id="rId33" Type="http://schemas.openxmlformats.org/officeDocument/2006/relationships/image" Target="../media/image27.svg"/><Relationship Id="rId38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TextBox 160">
            <a:extLst>
              <a:ext uri="{FF2B5EF4-FFF2-40B4-BE49-F238E27FC236}">
                <a16:creationId xmlns:a16="http://schemas.microsoft.com/office/drawing/2014/main" id="{0CDCFE59-6CD4-D9B1-3004-585B3D9778A2}"/>
              </a:ext>
            </a:extLst>
          </p:cNvPr>
          <p:cNvSpPr txBox="1"/>
          <p:nvPr/>
        </p:nvSpPr>
        <p:spPr>
          <a:xfrm>
            <a:off x="29843421" y="11556081"/>
            <a:ext cx="3532406" cy="449353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>
                <a:latin typeface="Arial" panose="020B0604020202020204" pitchFamily="34" charset="0"/>
                <a:cs typeface="Arial" panose="020B0604020202020204" pitchFamily="34" charset="0"/>
              </a:rPr>
              <a:t>Collaborative filtering is more accurate in predicting items from entire product univer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>
                <a:latin typeface="Arial" panose="020B0604020202020204" pitchFamily="34" charset="0"/>
                <a:cs typeface="Arial" panose="020B0604020202020204" pitchFamily="34" charset="0"/>
              </a:rPr>
              <a:t>Content-based approach </a:t>
            </a:r>
            <a:r>
              <a:rPr lang="en-US" sz="2200" b="1">
                <a:latin typeface="Arial" panose="020B0604020202020204" pitchFamily="34" charset="0"/>
                <a:cs typeface="Arial" panose="020B0604020202020204" pitchFamily="34" charset="0"/>
              </a:rPr>
              <a:t>1.5x more accurate</a:t>
            </a:r>
            <a:r>
              <a:rPr lang="en-US" sz="2200">
                <a:latin typeface="Arial" panose="020B0604020202020204" pitchFamily="34" charset="0"/>
                <a:cs typeface="Arial" panose="020B0604020202020204" pitchFamily="34" charset="0"/>
              </a:rPr>
              <a:t> than collaborative filtering at predicting basket of previously unordered items (across all recommendation basket sizes 1-5)</a:t>
            </a:r>
          </a:p>
        </p:txBody>
      </p:sp>
      <p:sp>
        <p:nvSpPr>
          <p:cNvPr id="159" name="Arrow: Right 158">
            <a:extLst>
              <a:ext uri="{FF2B5EF4-FFF2-40B4-BE49-F238E27FC236}">
                <a16:creationId xmlns:a16="http://schemas.microsoft.com/office/drawing/2014/main" id="{904DDD21-3626-C181-8D2B-C869A1B8B73B}"/>
              </a:ext>
            </a:extLst>
          </p:cNvPr>
          <p:cNvSpPr/>
          <p:nvPr/>
        </p:nvSpPr>
        <p:spPr bwMode="auto">
          <a:xfrm>
            <a:off x="35658797" y="16429679"/>
            <a:ext cx="721334" cy="154556"/>
          </a:xfrm>
          <a:prstGeom prst="rightArrow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6387" name="TextBox 16386">
            <a:extLst>
              <a:ext uri="{FF2B5EF4-FFF2-40B4-BE49-F238E27FC236}">
                <a16:creationId xmlns:a16="http://schemas.microsoft.com/office/drawing/2014/main" id="{0EAE0DE3-A750-41A3-7C06-877F909D1B9A}"/>
              </a:ext>
            </a:extLst>
          </p:cNvPr>
          <p:cNvSpPr txBox="1"/>
          <p:nvPr/>
        </p:nvSpPr>
        <p:spPr>
          <a:xfrm>
            <a:off x="17882040" y="14858049"/>
            <a:ext cx="1779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>
                <a:latin typeface="Arial" panose="020B0604020202020204" pitchFamily="34" charset="0"/>
                <a:cs typeface="Arial" panose="020B0604020202020204" pitchFamily="34" charset="0"/>
              </a:rPr>
              <a:t>Co-Clustering</a:t>
            </a:r>
          </a:p>
        </p:txBody>
      </p:sp>
      <p:sp>
        <p:nvSpPr>
          <p:cNvPr id="96" name="Arrow: Down 95">
            <a:extLst>
              <a:ext uri="{FF2B5EF4-FFF2-40B4-BE49-F238E27FC236}">
                <a16:creationId xmlns:a16="http://schemas.microsoft.com/office/drawing/2014/main" id="{8DC92614-141F-F81A-1A88-9C43A4B8BFA6}"/>
              </a:ext>
            </a:extLst>
          </p:cNvPr>
          <p:cNvSpPr/>
          <p:nvPr/>
        </p:nvSpPr>
        <p:spPr bwMode="auto">
          <a:xfrm>
            <a:off x="40957142" y="9398923"/>
            <a:ext cx="279390" cy="449418"/>
          </a:xfrm>
          <a:prstGeom prst="downArrow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50" name="Arrow: Down 49">
            <a:extLst>
              <a:ext uri="{FF2B5EF4-FFF2-40B4-BE49-F238E27FC236}">
                <a16:creationId xmlns:a16="http://schemas.microsoft.com/office/drawing/2014/main" id="{876F1FB2-0C18-67C9-53DD-3FF6FFCFFD58}"/>
              </a:ext>
            </a:extLst>
          </p:cNvPr>
          <p:cNvSpPr/>
          <p:nvPr/>
        </p:nvSpPr>
        <p:spPr bwMode="auto">
          <a:xfrm>
            <a:off x="38934764" y="7044309"/>
            <a:ext cx="208196" cy="414978"/>
          </a:xfrm>
          <a:prstGeom prst="downArrow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85" name="Rectangle 106">
            <a:extLst>
              <a:ext uri="{FF2B5EF4-FFF2-40B4-BE49-F238E27FC236}">
                <a16:creationId xmlns:a16="http://schemas.microsoft.com/office/drawing/2014/main" id="{0E93E93A-40DF-96E5-B293-31844E052E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67768" y="4505992"/>
            <a:ext cx="5401817" cy="44227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just"/>
            <a:r>
              <a:rPr lang="en-US" sz="2200" b="1" spc="10">
                <a:latin typeface="Arial" panose="020B0604020202020204" pitchFamily="34" charset="0"/>
                <a:cs typeface="Arial" panose="020B0604020202020204" pitchFamily="34" charset="0"/>
              </a:rPr>
              <a:t>Feature Priority: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200" spc="10">
                <a:latin typeface="Arial" panose="020B0604020202020204" pitchFamily="34" charset="0"/>
                <a:cs typeface="Arial" panose="020B0604020202020204" pitchFamily="34" charset="0"/>
              </a:rPr>
              <a:t>Relationship between customers and products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200" spc="10">
                <a:latin typeface="Arial" panose="020B0604020202020204" pitchFamily="34" charset="0"/>
                <a:cs typeface="Arial" panose="020B0604020202020204" pitchFamily="34" charset="0"/>
              </a:rPr>
              <a:t>Date difference between orders</a:t>
            </a:r>
          </a:p>
          <a:p>
            <a:pPr algn="just"/>
            <a:endParaRPr lang="en-US" sz="2200" spc="1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200" spc="10">
                <a:latin typeface="Arial" panose="020B0604020202020204" pitchFamily="34" charset="0"/>
                <a:cs typeface="Arial" panose="020B0604020202020204" pitchFamily="34" charset="0"/>
              </a:rPr>
              <a:t>Sample set is one year of transaction of transactions for 25,000 customer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200" spc="10">
                <a:latin typeface="Arial" panose="020B0604020202020204" pitchFamily="34" charset="0"/>
                <a:cs typeface="Arial" panose="020B0604020202020204" pitchFamily="34" charset="0"/>
              </a:rPr>
              <a:t>Orders bucketed by customer and item used in model to determine likelihood of ordering both previously seen and unseen items</a:t>
            </a:r>
          </a:p>
          <a:p>
            <a:pPr algn="just"/>
            <a:endParaRPr lang="en-US" sz="2200" spc="10">
              <a:latin typeface="Times New Roman"/>
              <a:cs typeface="Times"/>
            </a:endParaRPr>
          </a:p>
          <a:p>
            <a:pPr algn="just"/>
            <a:endParaRPr lang="en-US" sz="22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C907218D-04A6-5EDA-3B3C-6EB5643BB3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86996" y="8426990"/>
            <a:ext cx="6275400" cy="2733414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36D3FD7C-180B-E0AD-B10B-E9A8962179E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38563" y="17998605"/>
            <a:ext cx="6684198" cy="3377257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E0F1968C-F34B-051F-5866-5ACF4FCBD5BB}"/>
              </a:ext>
            </a:extLst>
          </p:cNvPr>
          <p:cNvSpPr/>
          <p:nvPr/>
        </p:nvSpPr>
        <p:spPr bwMode="auto">
          <a:xfrm>
            <a:off x="4103497" y="7574437"/>
            <a:ext cx="2989595" cy="698865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effectLst/>
              <a:latin typeface="Times" charset="0"/>
            </a:endParaRPr>
          </a:p>
        </p:txBody>
      </p:sp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432B884F-F6BB-4C34-BBD8-F91CF94F36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4879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4" progId="TCLayout.ActiveDocument.1">
                  <p:embed/>
                </p:oleObj>
              </mc:Choice>
              <mc:Fallback>
                <p:oleObj name="think-cell Slide" r:id="rId8" imgW="425" imgH="424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432B884F-F6BB-4C34-BBD8-F91CF94F36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4879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F67F2D4A-D616-4519-9663-4C3DA025E836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548640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51" name="Text Box 103"/>
          <p:cNvSpPr txBox="1">
            <a:spLocks noChangeArrowheads="1"/>
          </p:cNvSpPr>
          <p:nvPr/>
        </p:nvSpPr>
        <p:spPr bwMode="auto">
          <a:xfrm>
            <a:off x="-89878" y="1938504"/>
            <a:ext cx="43981077" cy="177221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/>
        </p:spPr>
        <p:txBody>
          <a:bodyPr lIns="104503" tIns="104503" rIns="104503" bIns="104503" anchor="t"/>
          <a:lstStyle>
            <a:lvl1pPr defTabSz="1016000">
              <a:defRPr sz="2400">
                <a:solidFill>
                  <a:schemeClr val="tx1"/>
                </a:solidFill>
                <a:latin typeface="Times" charset="0"/>
              </a:defRPr>
            </a:lvl1pPr>
            <a:lvl2pPr marL="508000" defTabSz="1016000">
              <a:defRPr sz="2400">
                <a:solidFill>
                  <a:schemeClr val="tx1"/>
                </a:solidFill>
                <a:latin typeface="Times" charset="0"/>
              </a:defRPr>
            </a:lvl2pPr>
            <a:lvl3pPr marL="1016000" defTabSz="1016000">
              <a:defRPr sz="2400">
                <a:solidFill>
                  <a:schemeClr val="tx1"/>
                </a:solidFill>
                <a:latin typeface="Times" charset="0"/>
              </a:defRPr>
            </a:lvl3pPr>
            <a:lvl4pPr marL="1524000" defTabSz="1016000">
              <a:defRPr sz="2400">
                <a:solidFill>
                  <a:schemeClr val="tx1"/>
                </a:solidFill>
                <a:latin typeface="Times" charset="0"/>
              </a:defRPr>
            </a:lvl4pPr>
            <a:lvl5pPr marL="2032000" defTabSz="1016000">
              <a:defRPr sz="2400">
                <a:solidFill>
                  <a:schemeClr val="tx1"/>
                </a:solidFill>
                <a:latin typeface="Times" charset="0"/>
              </a:defRPr>
            </a:lvl5pPr>
            <a:lvl6pPr marL="2489200" defTabSz="1016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946400" defTabSz="1016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403600" defTabSz="1016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860800" defTabSz="1016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>
              <a:spcBef>
                <a:spcPct val="20000"/>
              </a:spcBef>
            </a:pPr>
            <a:r>
              <a:rPr lang="en-IN"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uwayemisi Ajayi, Yuqiu Chen, Jason Crawford, Kamalika Das, Venkata Rahul Karumuri, Matthew A. Lanham</a:t>
            </a:r>
          </a:p>
          <a:p>
            <a:pPr algn="ctr">
              <a:spcBef>
                <a:spcPct val="20000"/>
              </a:spcBef>
            </a:pPr>
            <a:r>
              <a:rPr lang="en-IN" sz="2800">
                <a:solidFill>
                  <a:schemeClr val="bg1"/>
                </a:solidFill>
                <a:latin typeface="Arial"/>
                <a:cs typeface="Arial"/>
              </a:rPr>
              <a:t>Purdue University, Mitchell E. Daniels, Jr. School of Business</a:t>
            </a:r>
            <a:endParaRPr lang="en-GB" altLang="en-US" sz="2800">
              <a:solidFill>
                <a:schemeClr val="bg1"/>
              </a:solidFill>
              <a:latin typeface="Arial"/>
              <a:cs typeface="Arial"/>
            </a:endParaRPr>
          </a:p>
          <a:p>
            <a:pPr algn="ctr">
              <a:spcBef>
                <a:spcPct val="20000"/>
              </a:spcBef>
            </a:pPr>
            <a:r>
              <a:rPr lang="en-IN" altLang="en-US" sz="2800">
                <a:solidFill>
                  <a:schemeClr val="bg1"/>
                </a:solidFill>
                <a:latin typeface="Arial"/>
                <a:cs typeface="Arial"/>
              </a:rPr>
              <a:t>ajayi4@purdue.edu; chen3485@purdue.edu; crawf136@purdue.edu; das192@purdue.edu; vkarumur@purdue.edu; lanhamm@purdue.edu</a:t>
            </a:r>
            <a:endParaRPr lang="en-GB" altLang="en-US" sz="280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154" name="Rectangle 106"/>
          <p:cNvSpPr>
            <a:spLocks noChangeArrowheads="1"/>
          </p:cNvSpPr>
          <p:nvPr/>
        </p:nvSpPr>
        <p:spPr bwMode="auto">
          <a:xfrm>
            <a:off x="89727" y="4483216"/>
            <a:ext cx="10803021" cy="222749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just"/>
            <a:r>
              <a:rPr lang="en-US" sz="2200" spc="1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n a crowded market of fast-food chains, it's essential to stand out and appeal to customers better than the competition. One way to achieve this is by showing the customers are cared for and a more personalized experience them feel valued. Research indicates 54% of retailers claimed that product recommendations act as </a:t>
            </a:r>
            <a:r>
              <a:rPr lang="en-US" sz="2200" spc="10">
                <a:latin typeface="Arial" panose="020B0604020202020204" pitchFamily="34" charset="0"/>
                <a:cs typeface="Arial" panose="020B0604020202020204" pitchFamily="34" charset="0"/>
              </a:rPr>
              <a:t>the key driver of the AOV (average order value) in customer purchase (Skovhøj, 2022). This study enables to </a:t>
            </a:r>
            <a:r>
              <a:rPr lang="en-US" sz="2200" b="1" spc="10">
                <a:latin typeface="Arial" panose="020B0604020202020204" pitchFamily="34" charset="0"/>
                <a:cs typeface="Arial" panose="020B0604020202020204" pitchFamily="34" charset="0"/>
              </a:rPr>
              <a:t>accurately predict when and what a customer will order next</a:t>
            </a:r>
            <a:r>
              <a:rPr lang="en-US" sz="2200" spc="10">
                <a:latin typeface="Arial" panose="020B0604020202020204" pitchFamily="34" charset="0"/>
                <a:cs typeface="Arial" panose="020B0604020202020204" pitchFamily="34" charset="0"/>
              </a:rPr>
              <a:t> allowing this food brand to target and cluster users more granularly results in following benefits</a:t>
            </a:r>
            <a:r>
              <a:rPr lang="en-US" sz="2200" spc="10">
                <a:latin typeface="Times"/>
                <a:cs typeface="Times"/>
              </a:rPr>
              <a:t>:</a:t>
            </a:r>
            <a:endParaRPr lang="en-US" sz="2200">
              <a:cs typeface="Times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97144E4-DACB-4626-A9DF-3A010B6A1502}"/>
              </a:ext>
            </a:extLst>
          </p:cNvPr>
          <p:cNvSpPr/>
          <p:nvPr/>
        </p:nvSpPr>
        <p:spPr>
          <a:xfrm>
            <a:off x="854623" y="4180941"/>
            <a:ext cx="5803689" cy="52322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altLang="en-US" sz="2800" b="1">
                <a:latin typeface="Arial"/>
                <a:cs typeface="Arial"/>
              </a:rPr>
              <a:t>BUSINESS PROBLEM FRAMING</a:t>
            </a:r>
            <a:endParaRPr lang="en-US" altLang="en-US" sz="2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FA1FAB8-5768-438D-B2F4-F60B2A37F47A}"/>
              </a:ext>
            </a:extLst>
          </p:cNvPr>
          <p:cNvSpPr/>
          <p:nvPr/>
        </p:nvSpPr>
        <p:spPr bwMode="auto">
          <a:xfrm>
            <a:off x="276803" y="4198482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/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94A2A42-DA43-47A3-A95C-FE608289C8F8}"/>
              </a:ext>
            </a:extLst>
          </p:cNvPr>
          <p:cNvCxnSpPr/>
          <p:nvPr/>
        </p:nvCxnSpPr>
        <p:spPr bwMode="auto">
          <a:xfrm flipV="1">
            <a:off x="6590937" y="4526221"/>
            <a:ext cx="3899514" cy="1406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1E691D5B-DEA8-4C56-96F7-361BD5DF17DE}"/>
              </a:ext>
            </a:extLst>
          </p:cNvPr>
          <p:cNvSpPr/>
          <p:nvPr/>
        </p:nvSpPr>
        <p:spPr>
          <a:xfrm>
            <a:off x="839132" y="11609078"/>
            <a:ext cx="5599099" cy="52322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altLang="en-US" sz="2800" b="1">
                <a:latin typeface="Arial"/>
                <a:cs typeface="Arial"/>
              </a:rPr>
              <a:t>ANALYTIC PROBLEM FRAMING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9989D70-EF79-47D4-BB0B-547709F3D730}"/>
              </a:ext>
            </a:extLst>
          </p:cNvPr>
          <p:cNvSpPr/>
          <p:nvPr/>
        </p:nvSpPr>
        <p:spPr bwMode="auto">
          <a:xfrm>
            <a:off x="276803" y="11687976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/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EF49B87-0CD0-4F15-9D69-6AD7C5E2D872}"/>
              </a:ext>
            </a:extLst>
          </p:cNvPr>
          <p:cNvCxnSpPr>
            <a:cxnSpLocks/>
          </p:cNvCxnSpPr>
          <p:nvPr/>
        </p:nvCxnSpPr>
        <p:spPr bwMode="auto">
          <a:xfrm>
            <a:off x="6438231" y="11910924"/>
            <a:ext cx="42007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7" name="Rectangle 26">
            <a:extLst>
              <a:ext uri="{FF2B5EF4-FFF2-40B4-BE49-F238E27FC236}">
                <a16:creationId xmlns:a16="http://schemas.microsoft.com/office/drawing/2014/main" id="{99348E1A-91F7-4585-8CC3-F23DF5AC1A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-89878" y="3708465"/>
            <a:ext cx="44008880" cy="163603"/>
          </a:xfrm>
          <a:prstGeom prst="rect">
            <a:avLst/>
          </a:prstGeom>
          <a:solidFill>
            <a:srgbClr val="DDC69A"/>
          </a:solidFill>
          <a:ln>
            <a:noFill/>
          </a:ln>
          <a:effectLst/>
        </p:spPr>
        <p:txBody>
          <a:bodyPr wrap="none" lIns="50674" tIns="25337" rIns="50674" bIns="25337" anchor="ctr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endParaRPr lang="en-US" altLang="en-US" sz="1314">
              <a:solidFill>
                <a:schemeClr val="hlink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BDFD781-FA2F-4C95-A898-2E83C4466408}"/>
              </a:ext>
            </a:extLst>
          </p:cNvPr>
          <p:cNvSpPr/>
          <p:nvPr/>
        </p:nvSpPr>
        <p:spPr>
          <a:xfrm>
            <a:off x="11711708" y="8842621"/>
            <a:ext cx="307435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>
                <a:latin typeface="Arial" panose="020B0604020202020204" pitchFamily="34" charset="0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151A4DD-81A4-4FA9-AC9C-C91365C073D5}"/>
              </a:ext>
            </a:extLst>
          </p:cNvPr>
          <p:cNvSpPr/>
          <p:nvPr/>
        </p:nvSpPr>
        <p:spPr>
          <a:xfrm>
            <a:off x="34098975" y="4086391"/>
            <a:ext cx="654321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>
                <a:latin typeface="Arial" panose="020B0604020202020204" pitchFamily="34" charset="0"/>
                <a:cs typeface="Arial" panose="020B0604020202020204" pitchFamily="34" charset="0"/>
              </a:rPr>
              <a:t>BUSINESS IMPACT ASSESSMENT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7CA9C7E-75CF-4B4F-B23D-B9E6F06A8820}"/>
              </a:ext>
            </a:extLst>
          </p:cNvPr>
          <p:cNvSpPr/>
          <p:nvPr/>
        </p:nvSpPr>
        <p:spPr>
          <a:xfrm>
            <a:off x="34331065" y="14331551"/>
            <a:ext cx="307435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>
                <a:latin typeface="Arial" panose="020B0604020202020204" pitchFamily="34" charset="0"/>
                <a:cs typeface="Arial" panose="020B0604020202020204" pitchFamily="34" charset="0"/>
              </a:rPr>
              <a:t>CONCLUSION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B4C592E6-539E-40D8-AD36-19E6A3EF344A}"/>
              </a:ext>
            </a:extLst>
          </p:cNvPr>
          <p:cNvSpPr/>
          <p:nvPr/>
        </p:nvSpPr>
        <p:spPr bwMode="auto">
          <a:xfrm>
            <a:off x="33834353" y="14390989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/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A5596FE-4FC2-411E-B720-F3ED6345D646}"/>
              </a:ext>
            </a:extLst>
          </p:cNvPr>
          <p:cNvCxnSpPr/>
          <p:nvPr/>
        </p:nvCxnSpPr>
        <p:spPr bwMode="auto">
          <a:xfrm flipV="1">
            <a:off x="38045205" y="14584593"/>
            <a:ext cx="5482650" cy="1420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343C7AC-18A1-4005-A688-92466D6D9E48}"/>
              </a:ext>
            </a:extLst>
          </p:cNvPr>
          <p:cNvCxnSpPr>
            <a:cxnSpLocks/>
          </p:cNvCxnSpPr>
          <p:nvPr/>
        </p:nvCxnSpPr>
        <p:spPr bwMode="auto">
          <a:xfrm>
            <a:off x="38569335" y="20866092"/>
            <a:ext cx="509087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9582F389-BADC-43BB-B8C6-F5DB42D26F8F}"/>
              </a:ext>
            </a:extLst>
          </p:cNvPr>
          <p:cNvCxnSpPr/>
          <p:nvPr/>
        </p:nvCxnSpPr>
        <p:spPr bwMode="auto">
          <a:xfrm>
            <a:off x="11112092" y="4409560"/>
            <a:ext cx="0" cy="1703204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96F07418-00C8-4943-8B6F-6F530066EE2B}"/>
              </a:ext>
            </a:extLst>
          </p:cNvPr>
          <p:cNvSpPr/>
          <p:nvPr/>
        </p:nvSpPr>
        <p:spPr bwMode="auto">
          <a:xfrm>
            <a:off x="11345948" y="4222044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/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5" name="Text Box 126">
            <a:extLst>
              <a:ext uri="{FF2B5EF4-FFF2-40B4-BE49-F238E27FC236}">
                <a16:creationId xmlns:a16="http://schemas.microsoft.com/office/drawing/2014/main" id="{5A28348E-FA48-4141-AACB-2916E7D764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2380" y="392523"/>
            <a:ext cx="33971522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40" tIns="45720" rIns="91440" bIns="45720" anchor="t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6600" b="1">
                <a:latin typeface="Times"/>
                <a:cs typeface="Times"/>
              </a:rPr>
              <a:t>Made-to-Order: Targeted Marketing in Fast-Food Using Collaborative Filtering</a:t>
            </a:r>
            <a:endParaRPr lang="en-US" sz="6600" b="1"/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1226D37E-9553-454B-A4AB-E33CD7436CAA}"/>
              </a:ext>
            </a:extLst>
          </p:cNvPr>
          <p:cNvCxnSpPr>
            <a:cxnSpLocks/>
          </p:cNvCxnSpPr>
          <p:nvPr/>
        </p:nvCxnSpPr>
        <p:spPr bwMode="auto">
          <a:xfrm flipV="1">
            <a:off x="40046021" y="4348001"/>
            <a:ext cx="3530119" cy="3336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7F8D026A-672F-4B41-B4D6-3B45C79B46F6}"/>
              </a:ext>
            </a:extLst>
          </p:cNvPr>
          <p:cNvCxnSpPr/>
          <p:nvPr/>
        </p:nvCxnSpPr>
        <p:spPr bwMode="auto">
          <a:xfrm flipV="1">
            <a:off x="13388068" y="4454139"/>
            <a:ext cx="8243962" cy="5289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63492AC6-4137-416C-80D7-23A7961A3E88}"/>
              </a:ext>
            </a:extLst>
          </p:cNvPr>
          <p:cNvSpPr txBox="1"/>
          <p:nvPr/>
        </p:nvSpPr>
        <p:spPr>
          <a:xfrm>
            <a:off x="33616817" y="4551571"/>
            <a:ext cx="9826418" cy="2031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>
              <a:spcBef>
                <a:spcPct val="50000"/>
              </a:spcBef>
            </a:pPr>
            <a:r>
              <a:rPr lang="en-US" altLang="en-US" sz="2200" spc="10">
                <a:latin typeface="Arial"/>
                <a:cs typeface="Arial"/>
              </a:rPr>
              <a:t>To translate the effect of increased prediction accuracy on </a:t>
            </a:r>
            <a:r>
              <a:rPr lang="en-US" altLang="en-US" sz="2200" b="1" spc="10">
                <a:latin typeface="Arial"/>
                <a:cs typeface="Arial"/>
              </a:rPr>
              <a:t>conversion rates and per-order spending</a:t>
            </a:r>
            <a:r>
              <a:rPr lang="en-US" altLang="en-US" sz="2200" spc="10">
                <a:latin typeface="Arial"/>
                <a:cs typeface="Arial"/>
              </a:rPr>
              <a:t>, the below </a:t>
            </a:r>
            <a:r>
              <a:rPr lang="en-US" altLang="en-US" sz="2200" b="1" spc="10">
                <a:latin typeface="Arial"/>
                <a:cs typeface="Arial"/>
              </a:rPr>
              <a:t>A/B test</a:t>
            </a:r>
            <a:r>
              <a:rPr lang="en-US" altLang="en-US" sz="2200" spc="10">
                <a:latin typeface="Arial"/>
                <a:cs typeface="Arial"/>
              </a:rPr>
              <a:t> presents customers with one of two advertisements: one informed by the personalized customer prediction baskets and one for the brand’s most popular products across users nationwide</a:t>
            </a:r>
            <a:endParaRPr lang="en-US" sz="2200">
              <a:latin typeface="Times"/>
              <a:cs typeface="Times"/>
            </a:endParaRPr>
          </a:p>
          <a:p>
            <a:pPr algn="just"/>
            <a:endParaRPr lang="en-US">
              <a:cs typeface="Times" charset="0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DFF1BB2C-6619-427B-975C-946D9E5CBEAE}"/>
              </a:ext>
            </a:extLst>
          </p:cNvPr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227945" y="2293429"/>
            <a:ext cx="6111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940660" indent="-940660" algn="l" defTabSz="2508125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874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7341" indent="-783732" algn="l" defTabSz="2508125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7714">
                <a:solidFill>
                  <a:schemeClr val="tx1"/>
                </a:solidFill>
                <a:latin typeface="+mn-lt"/>
              </a:defRPr>
            </a:lvl2pPr>
            <a:lvl3pPr marL="3134929" indent="-626805" algn="l" defTabSz="2508125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6571">
                <a:solidFill>
                  <a:schemeClr val="tx1"/>
                </a:solidFill>
                <a:latin typeface="+mn-lt"/>
              </a:defRPr>
            </a:lvl3pPr>
            <a:lvl4pPr marL="4388538" indent="-626805" algn="l" defTabSz="2508125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5485">
                <a:solidFill>
                  <a:schemeClr val="tx1"/>
                </a:solidFill>
                <a:latin typeface="+mn-lt"/>
              </a:defRPr>
            </a:lvl4pPr>
            <a:lvl5pPr marL="5641240" indent="-625897" algn="l" defTabSz="2508125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5485">
                <a:solidFill>
                  <a:schemeClr val="tx1"/>
                </a:solidFill>
                <a:latin typeface="+mn-lt"/>
              </a:defRPr>
            </a:lvl5pPr>
            <a:lvl6pPr marL="5902484" indent="-625897" algn="l" defTabSz="2508125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5485">
                <a:solidFill>
                  <a:schemeClr val="tx1"/>
                </a:solidFill>
                <a:latin typeface="+mn-lt"/>
              </a:defRPr>
            </a:lvl6pPr>
            <a:lvl7pPr marL="6163728" indent="-625897" algn="l" defTabSz="2508125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5485">
                <a:solidFill>
                  <a:schemeClr val="tx1"/>
                </a:solidFill>
                <a:latin typeface="+mn-lt"/>
              </a:defRPr>
            </a:lvl7pPr>
            <a:lvl8pPr marL="6424972" indent="-625897" algn="l" defTabSz="2508125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5485">
                <a:solidFill>
                  <a:schemeClr val="tx1"/>
                </a:solidFill>
                <a:latin typeface="+mn-lt"/>
              </a:defRPr>
            </a:lvl8pPr>
            <a:lvl9pPr marL="6686216" indent="-625897" algn="l" defTabSz="2508125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5485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en-US" altLang="en-US" sz="1200">
              <a:solidFill>
                <a:srgbClr val="035FA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08BB51C-831A-4DCF-84FA-A04FECD426F8}"/>
              </a:ext>
            </a:extLst>
          </p:cNvPr>
          <p:cNvSpPr txBox="1"/>
          <p:nvPr/>
        </p:nvSpPr>
        <p:spPr>
          <a:xfrm flipH="1">
            <a:off x="179449" y="12014706"/>
            <a:ext cx="10771757" cy="178510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/>
            <a:r>
              <a:rPr lang="en-US" sz="2200" spc="10">
                <a:latin typeface="Arial" panose="020B0604020202020204" pitchFamily="34" charset="0"/>
                <a:cs typeface="Arial" panose="020B0604020202020204" pitchFamily="34" charset="0"/>
              </a:rPr>
              <a:t>Increase the conversion rate of customers and improve customer life cycle </a:t>
            </a:r>
          </a:p>
          <a:p>
            <a:pPr algn="just"/>
            <a:r>
              <a:rPr lang="en-US" sz="2200" spc="10">
                <a:latin typeface="Arial" panose="020B0604020202020204" pitchFamily="34" charset="0"/>
                <a:cs typeface="Arial" panose="020B0604020202020204" pitchFamily="34" charset="0"/>
              </a:rPr>
              <a:t>for the fast-food chain factoring the varying buying pattern from a vast pool of customers. Assuming, the sample transactional data reflects the fast-food entire customer persona and buying patterns accurately, the recommendation model built in this study successfully 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231A1C19-1905-4CA9-9C87-3C1F35D48A04}"/>
              </a:ext>
            </a:extLst>
          </p:cNvPr>
          <p:cNvSpPr txBox="1"/>
          <p:nvPr/>
        </p:nvSpPr>
        <p:spPr>
          <a:xfrm>
            <a:off x="34173795" y="21001376"/>
            <a:ext cx="959716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IN" sz="2200" spc="10">
                <a:latin typeface="Arial"/>
                <a:cs typeface="Arial"/>
              </a:rPr>
              <a:t>Gratitude to Professor Matthew Lanham and our industry partner for this opportunity, their guidance, and support on this project.</a:t>
            </a:r>
          </a:p>
        </p:txBody>
      </p:sp>
      <p:sp>
        <p:nvSpPr>
          <p:cNvPr id="137" name="Rectangle 26">
            <a:extLst>
              <a:ext uri="{FF2B5EF4-FFF2-40B4-BE49-F238E27FC236}">
                <a16:creationId xmlns:a16="http://schemas.microsoft.com/office/drawing/2014/main" id="{F7967B6B-449B-4C4B-87E5-214DC84A22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06185" y="1828269"/>
            <a:ext cx="44008883" cy="143456"/>
          </a:xfrm>
          <a:prstGeom prst="rect">
            <a:avLst/>
          </a:prstGeom>
          <a:solidFill>
            <a:srgbClr val="DDC69A"/>
          </a:solidFill>
          <a:ln>
            <a:noFill/>
          </a:ln>
          <a:effectLst/>
        </p:spPr>
        <p:txBody>
          <a:bodyPr wrap="none" lIns="50674" tIns="25337" rIns="50674" bIns="25337" anchor="ctr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endParaRPr lang="en-US" altLang="en-US" sz="1314">
              <a:solidFill>
                <a:schemeClr val="hlink"/>
              </a:solidFill>
            </a:endParaRPr>
          </a:p>
        </p:txBody>
      </p: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22105DCC-8B80-4932-A11F-566A4E5862CD}"/>
              </a:ext>
            </a:extLst>
          </p:cNvPr>
          <p:cNvCxnSpPr/>
          <p:nvPr/>
        </p:nvCxnSpPr>
        <p:spPr bwMode="auto">
          <a:xfrm>
            <a:off x="21989696" y="4348001"/>
            <a:ext cx="0" cy="1703204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0" name="Rectangle 209">
            <a:extLst>
              <a:ext uri="{FF2B5EF4-FFF2-40B4-BE49-F238E27FC236}">
                <a16:creationId xmlns:a16="http://schemas.microsoft.com/office/drawing/2014/main" id="{52928B21-A381-482A-875D-8DBDE2B44378}"/>
              </a:ext>
            </a:extLst>
          </p:cNvPr>
          <p:cNvSpPr/>
          <p:nvPr/>
        </p:nvSpPr>
        <p:spPr>
          <a:xfrm>
            <a:off x="11834661" y="4179315"/>
            <a:ext cx="4887247" cy="52322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altLang="en-US" sz="2800" b="1">
                <a:latin typeface="Arial"/>
                <a:cs typeface="Arial"/>
              </a:rPr>
              <a:t>DATA</a:t>
            </a:r>
            <a:endParaRPr lang="en-US"/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B1D3324D-23AF-49C8-AC9C-627B947C3372}"/>
              </a:ext>
            </a:extLst>
          </p:cNvPr>
          <p:cNvSpPr/>
          <p:nvPr/>
        </p:nvSpPr>
        <p:spPr bwMode="auto">
          <a:xfrm>
            <a:off x="11301765" y="8990770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/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C7F44019-64B9-4836-B21F-312291DE1DA6}"/>
              </a:ext>
            </a:extLst>
          </p:cNvPr>
          <p:cNvCxnSpPr>
            <a:cxnSpLocks/>
          </p:cNvCxnSpPr>
          <p:nvPr/>
        </p:nvCxnSpPr>
        <p:spPr bwMode="auto">
          <a:xfrm flipV="1">
            <a:off x="14967947" y="9041350"/>
            <a:ext cx="6672444" cy="323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5" name="Rectangle 214">
            <a:extLst>
              <a:ext uri="{FF2B5EF4-FFF2-40B4-BE49-F238E27FC236}">
                <a16:creationId xmlns:a16="http://schemas.microsoft.com/office/drawing/2014/main" id="{E07925BF-CCB2-443C-9FE8-FE558EC7F144}"/>
              </a:ext>
            </a:extLst>
          </p:cNvPr>
          <p:cNvSpPr/>
          <p:nvPr/>
        </p:nvSpPr>
        <p:spPr>
          <a:xfrm>
            <a:off x="34070917" y="20625616"/>
            <a:ext cx="43214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>
                <a:latin typeface="Arial" panose="020B0604020202020204" pitchFamily="34" charset="0"/>
                <a:cs typeface="Arial" panose="020B0604020202020204" pitchFamily="34" charset="0"/>
              </a:rPr>
              <a:t>ACKNOWLEDGEMENTS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DCDFF37B-E28D-42AA-A095-47DDCB4A04D4}"/>
              </a:ext>
            </a:extLst>
          </p:cNvPr>
          <p:cNvSpPr/>
          <p:nvPr/>
        </p:nvSpPr>
        <p:spPr bwMode="auto">
          <a:xfrm>
            <a:off x="33674257" y="4158033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/>
            <a:endParaRPr lang="en-US" sz="2400"/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E24C946C-91E9-4486-8B6C-6C3CC59FA60A}"/>
              </a:ext>
            </a:extLst>
          </p:cNvPr>
          <p:cNvSpPr/>
          <p:nvPr/>
        </p:nvSpPr>
        <p:spPr bwMode="auto">
          <a:xfrm>
            <a:off x="33625728" y="20709165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/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EB429614-D536-4934-919E-2C27E6A3B7F9}"/>
              </a:ext>
            </a:extLst>
          </p:cNvPr>
          <p:cNvSpPr/>
          <p:nvPr/>
        </p:nvSpPr>
        <p:spPr bwMode="auto">
          <a:xfrm>
            <a:off x="39065662" y="-33694"/>
            <a:ext cx="4874282" cy="3805865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/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2E5F2B8-D5EC-CAD3-E5EE-AF509F94BBA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-86793" y="1973805"/>
            <a:ext cx="10529358" cy="172982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4338491-E158-6327-6A63-0CC215D3D735}"/>
              </a:ext>
            </a:extLst>
          </p:cNvPr>
          <p:cNvSpPr/>
          <p:nvPr/>
        </p:nvSpPr>
        <p:spPr>
          <a:xfrm>
            <a:off x="22931955" y="4002522"/>
            <a:ext cx="4216471" cy="52322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800" b="1">
                <a:latin typeface="Arial"/>
                <a:cs typeface="Arial"/>
              </a:rPr>
              <a:t>MODEL BUILDING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FF06B1C-FBDA-EFBD-25C8-DBD4F2B35D47}"/>
              </a:ext>
            </a:extLst>
          </p:cNvPr>
          <p:cNvSpPr/>
          <p:nvPr/>
        </p:nvSpPr>
        <p:spPr bwMode="auto">
          <a:xfrm>
            <a:off x="22444829" y="4081252"/>
            <a:ext cx="365760" cy="365760"/>
          </a:xfrm>
          <a:prstGeom prst="rect">
            <a:avLst/>
          </a:prstGeom>
          <a:solidFill>
            <a:srgbClr val="DDC6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/>
            <a:endParaRPr lang="en-US" sz="240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5D68077-F0C3-CE0F-D8CE-849F013D388E}"/>
              </a:ext>
            </a:extLst>
          </p:cNvPr>
          <p:cNvCxnSpPr>
            <a:cxnSpLocks/>
          </p:cNvCxnSpPr>
          <p:nvPr/>
        </p:nvCxnSpPr>
        <p:spPr bwMode="auto">
          <a:xfrm>
            <a:off x="26517600" y="4287694"/>
            <a:ext cx="5838089" cy="4123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364F7D47-6369-9739-FD85-C2AE60825A8A}"/>
              </a:ext>
            </a:extLst>
          </p:cNvPr>
          <p:cNvSpPr/>
          <p:nvPr/>
        </p:nvSpPr>
        <p:spPr bwMode="auto">
          <a:xfrm>
            <a:off x="377055" y="7614158"/>
            <a:ext cx="3123509" cy="698865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effectLst/>
              <a:latin typeface="Times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870F331-D4D7-2FB2-3FC9-671300FABB71}"/>
              </a:ext>
            </a:extLst>
          </p:cNvPr>
          <p:cNvSpPr/>
          <p:nvPr/>
        </p:nvSpPr>
        <p:spPr bwMode="auto">
          <a:xfrm>
            <a:off x="304290" y="7525179"/>
            <a:ext cx="3126258" cy="698865"/>
          </a:xfrm>
          <a:prstGeom prst="rect">
            <a:avLst/>
          </a:prstGeom>
          <a:solidFill>
            <a:srgbClr val="DEC69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30" name="Rectangle 106">
            <a:extLst>
              <a:ext uri="{FF2B5EF4-FFF2-40B4-BE49-F238E27FC236}">
                <a16:creationId xmlns:a16="http://schemas.microsoft.com/office/drawing/2014/main" id="{5FEF4222-E608-47AF-12C7-C1D5AD1E80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036" y="7546004"/>
            <a:ext cx="3249309" cy="31096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b="1" spc="10">
                <a:latin typeface="Arial" panose="020B0604020202020204" pitchFamily="34" charset="0"/>
                <a:cs typeface="Arial" panose="020B0604020202020204" pitchFamily="34" charset="0"/>
              </a:rPr>
              <a:t>Order Conversion </a:t>
            </a:r>
          </a:p>
          <a:p>
            <a:pPr algn="just"/>
            <a:endParaRPr lang="en-US" spc="10">
              <a:latin typeface="Times New Roman"/>
              <a:cs typeface="Times"/>
            </a:endParaRPr>
          </a:p>
          <a:p>
            <a:pPr algn="just"/>
            <a:endParaRPr lang="en-US" sz="22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Arrow: Up 32">
            <a:extLst>
              <a:ext uri="{FF2B5EF4-FFF2-40B4-BE49-F238E27FC236}">
                <a16:creationId xmlns:a16="http://schemas.microsoft.com/office/drawing/2014/main" id="{5FD7451E-30C8-1830-9C32-BD21F033A8D1}"/>
              </a:ext>
            </a:extLst>
          </p:cNvPr>
          <p:cNvSpPr/>
          <p:nvPr/>
        </p:nvSpPr>
        <p:spPr bwMode="auto">
          <a:xfrm>
            <a:off x="349220" y="7631617"/>
            <a:ext cx="285367" cy="436696"/>
          </a:xfrm>
          <a:prstGeom prst="upArrow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E592C61-68C8-2848-DA24-AE72143277E0}"/>
              </a:ext>
            </a:extLst>
          </p:cNvPr>
          <p:cNvSpPr/>
          <p:nvPr/>
        </p:nvSpPr>
        <p:spPr bwMode="auto">
          <a:xfrm>
            <a:off x="4024749" y="7513628"/>
            <a:ext cx="2989595" cy="698865"/>
          </a:xfrm>
          <a:prstGeom prst="rect">
            <a:avLst/>
          </a:prstGeom>
          <a:solidFill>
            <a:srgbClr val="DEC69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1" name="Rectangle 106">
            <a:extLst>
              <a:ext uri="{FF2B5EF4-FFF2-40B4-BE49-F238E27FC236}">
                <a16:creationId xmlns:a16="http://schemas.microsoft.com/office/drawing/2014/main" id="{6CAA35AB-1C74-8507-B824-53E4A83A4C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0266" y="7512771"/>
            <a:ext cx="2897781" cy="31096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sz="2800" b="1" spc="10">
                <a:latin typeface="Ariel"/>
                <a:cs typeface="Times"/>
              </a:rPr>
              <a:t>Avg. Order Price </a:t>
            </a:r>
          </a:p>
          <a:p>
            <a:pPr algn="just"/>
            <a:endParaRPr lang="en-US" spc="10">
              <a:latin typeface="Times New Roman"/>
              <a:cs typeface="Times"/>
            </a:endParaRPr>
          </a:p>
          <a:p>
            <a:pPr algn="just"/>
            <a:endParaRPr lang="en-US" sz="22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Arrow: Up 30">
            <a:extLst>
              <a:ext uri="{FF2B5EF4-FFF2-40B4-BE49-F238E27FC236}">
                <a16:creationId xmlns:a16="http://schemas.microsoft.com/office/drawing/2014/main" id="{D4125493-90F8-C1ED-56AF-EB9751A47609}"/>
              </a:ext>
            </a:extLst>
          </p:cNvPr>
          <p:cNvSpPr/>
          <p:nvPr/>
        </p:nvSpPr>
        <p:spPr bwMode="auto">
          <a:xfrm>
            <a:off x="4116146" y="7625170"/>
            <a:ext cx="285367" cy="436696"/>
          </a:xfrm>
          <a:prstGeom prst="upArrow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991C374-90D6-1814-30AD-52CBC8641C76}"/>
              </a:ext>
            </a:extLst>
          </p:cNvPr>
          <p:cNvSpPr/>
          <p:nvPr/>
        </p:nvSpPr>
        <p:spPr bwMode="auto">
          <a:xfrm>
            <a:off x="7628043" y="7574632"/>
            <a:ext cx="3226721" cy="698865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effectLst/>
              <a:latin typeface="Times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9443DB6-CF50-3932-6989-5E650C4778A5}"/>
              </a:ext>
            </a:extLst>
          </p:cNvPr>
          <p:cNvSpPr/>
          <p:nvPr/>
        </p:nvSpPr>
        <p:spPr bwMode="auto">
          <a:xfrm>
            <a:off x="7530173" y="7517936"/>
            <a:ext cx="3264575" cy="698865"/>
          </a:xfrm>
          <a:prstGeom prst="rect">
            <a:avLst/>
          </a:prstGeom>
          <a:solidFill>
            <a:srgbClr val="DEC69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37" name="Rectangle 106">
            <a:extLst>
              <a:ext uri="{FF2B5EF4-FFF2-40B4-BE49-F238E27FC236}">
                <a16:creationId xmlns:a16="http://schemas.microsoft.com/office/drawing/2014/main" id="{F30A5DAD-87ED-14BC-E00E-6849B9B8FC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84249" y="7519264"/>
            <a:ext cx="3631424" cy="332499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sz="2800" b="1" spc="10">
                <a:latin typeface="Ariel"/>
                <a:cs typeface="Times"/>
              </a:rPr>
              <a:t>Campaign Wastage </a:t>
            </a:r>
          </a:p>
          <a:p>
            <a:pPr algn="just"/>
            <a:endParaRPr lang="en-US" spc="10">
              <a:latin typeface="Times New Roman"/>
              <a:cs typeface="Times"/>
            </a:endParaRPr>
          </a:p>
          <a:p>
            <a:pPr algn="just"/>
            <a:endParaRPr lang="en-US" sz="22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Arrow: Up 38">
            <a:extLst>
              <a:ext uri="{FF2B5EF4-FFF2-40B4-BE49-F238E27FC236}">
                <a16:creationId xmlns:a16="http://schemas.microsoft.com/office/drawing/2014/main" id="{04DEF79B-CF8A-564D-26AE-9364C04DB733}"/>
              </a:ext>
            </a:extLst>
          </p:cNvPr>
          <p:cNvSpPr/>
          <p:nvPr/>
        </p:nvSpPr>
        <p:spPr bwMode="auto">
          <a:xfrm rot="10800000">
            <a:off x="7619103" y="7653180"/>
            <a:ext cx="285367" cy="436696"/>
          </a:xfrm>
          <a:prstGeom prst="upArrow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44" name="Rectangle 106">
            <a:extLst>
              <a:ext uri="{FF2B5EF4-FFF2-40B4-BE49-F238E27FC236}">
                <a16:creationId xmlns:a16="http://schemas.microsoft.com/office/drawing/2014/main" id="{040D6B34-F999-492D-6720-1881314C55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4079" y="11058569"/>
            <a:ext cx="6866656" cy="31096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sz="2000" spc="10">
                <a:latin typeface="Arial" panose="020B0604020202020204" pitchFamily="34" charset="0"/>
                <a:cs typeface="Arial" panose="020B0604020202020204" pitchFamily="34" charset="0"/>
              </a:rPr>
              <a:t>Fig. 1 </a:t>
            </a:r>
            <a:r>
              <a:rPr lang="en-US" sz="2000" i="1" spc="10">
                <a:latin typeface="Arial" panose="020B0604020202020204" pitchFamily="34" charset="0"/>
                <a:cs typeface="Arial" panose="020B0604020202020204" pitchFamily="34" charset="0"/>
              </a:rPr>
              <a:t>Recommendation algorithm</a:t>
            </a:r>
            <a:r>
              <a:rPr lang="en-US" sz="2000" spc="1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i="1" spc="10">
                <a:latin typeface="Arial" panose="020B0604020202020204" pitchFamily="34" charset="0"/>
                <a:cs typeface="Arial" panose="020B0604020202020204" pitchFamily="34" charset="0"/>
              </a:rPr>
              <a:t>significance statistics</a:t>
            </a:r>
            <a:r>
              <a:rPr lang="en-US" sz="2000" spc="1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pPr algn="just"/>
            <a:endParaRPr lang="en-US" sz="2000" spc="1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n-US" sz="20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Rectangle 106">
            <a:extLst>
              <a:ext uri="{FF2B5EF4-FFF2-40B4-BE49-F238E27FC236}">
                <a16:creationId xmlns:a16="http://schemas.microsoft.com/office/drawing/2014/main" id="{E84C2C44-699B-6128-2DE5-1AD6C90B2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71032" y="21220382"/>
            <a:ext cx="6866656" cy="31096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sz="2000" spc="10">
                <a:latin typeface="Arial" panose="020B0604020202020204" pitchFamily="34" charset="0"/>
                <a:cs typeface="Arial" panose="020B0604020202020204" pitchFamily="34" charset="0"/>
              </a:rPr>
              <a:t>Fig. 2. </a:t>
            </a:r>
            <a:r>
              <a:rPr lang="en-US" sz="2000" i="1" spc="10">
                <a:latin typeface="Arial" panose="020B0604020202020204" pitchFamily="34" charset="0"/>
                <a:cs typeface="Arial" panose="020B0604020202020204" pitchFamily="34" charset="0"/>
              </a:rPr>
              <a:t>Collaborative filtering </a:t>
            </a:r>
            <a:r>
              <a:rPr lang="en-US" sz="2000" spc="1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6038450-3E0B-A379-2569-B9EC6F5A3764}"/>
              </a:ext>
            </a:extLst>
          </p:cNvPr>
          <p:cNvSpPr/>
          <p:nvPr/>
        </p:nvSpPr>
        <p:spPr bwMode="auto">
          <a:xfrm>
            <a:off x="16729312" y="4730827"/>
            <a:ext cx="4908783" cy="3914975"/>
          </a:xfrm>
          <a:prstGeom prst="rect">
            <a:avLst/>
          </a:prstGeom>
          <a:solidFill>
            <a:srgbClr val="DEC699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rgbClr val="C28E0E"/>
              </a:solidFill>
              <a:effectLst/>
              <a:latin typeface="Times" charset="0"/>
            </a:endParaRPr>
          </a:p>
        </p:txBody>
      </p:sp>
      <p:sp>
        <p:nvSpPr>
          <p:cNvPr id="52" name="Rectangle 106">
            <a:extLst>
              <a:ext uri="{FF2B5EF4-FFF2-40B4-BE49-F238E27FC236}">
                <a16:creationId xmlns:a16="http://schemas.microsoft.com/office/drawing/2014/main" id="{616023F0-AE64-B195-FC07-A7D863E9F7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092722" y="4650816"/>
            <a:ext cx="2407289" cy="48793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sz="2000" b="1" spc="10">
                <a:latin typeface="Ariel"/>
                <a:cs typeface="Times"/>
              </a:rPr>
              <a:t>USER - 25K     </a:t>
            </a:r>
            <a:r>
              <a:rPr lang="en-US" sz="2000" b="1" spc="10">
                <a:latin typeface="Times"/>
                <a:cs typeface="Times"/>
              </a:rPr>
              <a:t> </a:t>
            </a:r>
            <a:endParaRPr lang="en-US" sz="2000" b="1" spc="10">
              <a:cs typeface="Times"/>
            </a:endParaRPr>
          </a:p>
          <a:p>
            <a:pPr algn="just"/>
            <a:endParaRPr lang="en-US" sz="2000" spc="10">
              <a:latin typeface="Times New Roman"/>
              <a:cs typeface="Times"/>
            </a:endParaRPr>
          </a:p>
          <a:p>
            <a:pPr algn="just"/>
            <a:endParaRPr lang="en-US" sz="20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CC3C569-2B32-1618-20C5-C9D2A1EC4AB1}"/>
              </a:ext>
            </a:extLst>
          </p:cNvPr>
          <p:cNvSpPr/>
          <p:nvPr/>
        </p:nvSpPr>
        <p:spPr bwMode="auto">
          <a:xfrm>
            <a:off x="17085974" y="5261783"/>
            <a:ext cx="4216370" cy="31859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2" name="Rectangle 106">
            <a:extLst>
              <a:ext uri="{FF2B5EF4-FFF2-40B4-BE49-F238E27FC236}">
                <a16:creationId xmlns:a16="http://schemas.microsoft.com/office/drawing/2014/main" id="{AD057F27-C624-5E47-0982-8D6BF3466A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431860" y="5140332"/>
            <a:ext cx="3616696" cy="48793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sz="2000" b="1" spc="10">
                <a:latin typeface="Ariel"/>
                <a:cs typeface="Times"/>
              </a:rPr>
              <a:t>ORDERS - 700K over full year </a:t>
            </a:r>
            <a:endParaRPr lang="en-US" sz="2000" b="1" spc="10">
              <a:cs typeface="Times"/>
            </a:endParaRPr>
          </a:p>
          <a:p>
            <a:pPr algn="just"/>
            <a:endParaRPr lang="en-US" sz="2000" spc="10">
              <a:latin typeface="Times New Roman"/>
              <a:cs typeface="Times"/>
            </a:endParaRPr>
          </a:p>
          <a:p>
            <a:pPr algn="just"/>
            <a:endParaRPr lang="en-US" sz="20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Rectangle 106">
            <a:extLst>
              <a:ext uri="{FF2B5EF4-FFF2-40B4-BE49-F238E27FC236}">
                <a16:creationId xmlns:a16="http://schemas.microsoft.com/office/drawing/2014/main" id="{9F1678A9-35B3-3E93-B9FD-433859A976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27194" y="5547675"/>
            <a:ext cx="2407289" cy="48793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r>
              <a:rPr lang="en-US" sz="2000" b="1" spc="10">
                <a:latin typeface="Ariel"/>
                <a:cs typeface="Times"/>
              </a:rPr>
              <a:t>DATE + TIME</a:t>
            </a:r>
            <a:endParaRPr lang="en-US" sz="2000" b="1" spc="10">
              <a:cs typeface="Times"/>
            </a:endParaRPr>
          </a:p>
          <a:p>
            <a:pPr algn="just"/>
            <a:endParaRPr lang="en-US" sz="2000" spc="10">
              <a:latin typeface="Times New Roman"/>
              <a:cs typeface="Times"/>
            </a:endParaRPr>
          </a:p>
          <a:p>
            <a:pPr algn="just"/>
            <a:endParaRPr lang="en-US" sz="20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81035AE8-0243-FC0B-304D-17820B773998}"/>
              </a:ext>
            </a:extLst>
          </p:cNvPr>
          <p:cNvSpPr/>
          <p:nvPr/>
        </p:nvSpPr>
        <p:spPr bwMode="auto">
          <a:xfrm>
            <a:off x="17773224" y="6238573"/>
            <a:ext cx="2847682" cy="177382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5" name="Rectangle 106">
            <a:extLst>
              <a:ext uri="{FF2B5EF4-FFF2-40B4-BE49-F238E27FC236}">
                <a16:creationId xmlns:a16="http://schemas.microsoft.com/office/drawing/2014/main" id="{37A8333C-874C-4090-190C-BC3E0B0221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62554" y="6232942"/>
            <a:ext cx="2407289" cy="545603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sz="2000" b="1" spc="10">
                <a:latin typeface="Ariel"/>
                <a:cs typeface="Times"/>
              </a:rPr>
              <a:t> PRODUCT - 1.2M</a:t>
            </a:r>
            <a:endParaRPr lang="en-US" sz="2000" b="1" spc="10">
              <a:cs typeface="Times"/>
            </a:endParaRPr>
          </a:p>
          <a:p>
            <a:pPr algn="just"/>
            <a:endParaRPr lang="en-US" sz="2000" spc="10">
              <a:latin typeface="Times New Roman"/>
              <a:cs typeface="Times"/>
            </a:endParaRPr>
          </a:p>
          <a:p>
            <a:pPr algn="just"/>
            <a:endParaRPr lang="en-US" sz="20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Rectangle 106">
            <a:extLst>
              <a:ext uri="{FF2B5EF4-FFF2-40B4-BE49-F238E27FC236}">
                <a16:creationId xmlns:a16="http://schemas.microsoft.com/office/drawing/2014/main" id="{98E35176-05DD-B70A-53C3-2A3160F150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014090" y="6749716"/>
            <a:ext cx="2407289" cy="545603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sz="2000" b="1" spc="10">
                <a:latin typeface="Ariel"/>
                <a:cs typeface="Times"/>
              </a:rPr>
              <a:t>PRICE</a:t>
            </a:r>
          </a:p>
          <a:p>
            <a:pPr algn="ctr"/>
            <a:r>
              <a:rPr lang="en-US" sz="2000" b="1" spc="10">
                <a:latin typeface="Ariel"/>
                <a:cs typeface="Times"/>
              </a:rPr>
              <a:t>QUANTITY</a:t>
            </a:r>
          </a:p>
          <a:p>
            <a:pPr algn="ctr"/>
            <a:r>
              <a:rPr lang="en-US" sz="2000" b="1" spc="10">
                <a:latin typeface="Ariel"/>
                <a:cs typeface="Times"/>
              </a:rPr>
              <a:t>MODIFICATIONS</a:t>
            </a:r>
          </a:p>
          <a:p>
            <a:pPr algn="ctr"/>
            <a:endParaRPr lang="en-US" sz="2000" b="1" spc="10">
              <a:cs typeface="Times"/>
            </a:endParaRPr>
          </a:p>
          <a:p>
            <a:pPr algn="just"/>
            <a:endParaRPr lang="en-US" sz="2000" spc="10">
              <a:latin typeface="Times New Roman"/>
              <a:cs typeface="Times"/>
            </a:endParaRPr>
          </a:p>
          <a:p>
            <a:pPr algn="just"/>
            <a:endParaRPr lang="en-US" sz="20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A13BD17-DE5E-0176-D56D-571E690D5A57}"/>
              </a:ext>
            </a:extLst>
          </p:cNvPr>
          <p:cNvSpPr txBox="1"/>
          <p:nvPr/>
        </p:nvSpPr>
        <p:spPr>
          <a:xfrm>
            <a:off x="29577702" y="7466533"/>
            <a:ext cx="3960357" cy="2800767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>
                <a:latin typeface="Arial" panose="020B0604020202020204" pitchFamily="34" charset="0"/>
                <a:cs typeface="Arial" panose="020B0604020202020204" pitchFamily="34" charset="0"/>
              </a:rPr>
              <a:t>Baskets of n products predicted to be in the users’ next order based on % order inclusion (actual for previously ordered items or predicted per collaborative filtering for unordered products).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10F9D4B-2B1A-551D-6C97-5D3AA6C55128}"/>
              </a:ext>
            </a:extLst>
          </p:cNvPr>
          <p:cNvSpPr txBox="1"/>
          <p:nvPr/>
        </p:nvSpPr>
        <p:spPr>
          <a:xfrm>
            <a:off x="29027450" y="16822106"/>
            <a:ext cx="4363472" cy="34778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200">
                <a:latin typeface="Arial" panose="020B0604020202020204" pitchFamily="34" charset="0"/>
                <a:cs typeface="Arial" panose="020B0604020202020204" pitchFamily="34" charset="0"/>
              </a:rPr>
              <a:t>Classification model most accurate at predicting those in cluster ordering &gt;50 days in future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200">
                <a:latin typeface="Arial" panose="020B0604020202020204" pitchFamily="34" charset="0"/>
                <a:cs typeface="Arial" panose="020B0604020202020204" pitchFamily="34" charset="0"/>
              </a:rPr>
              <a:t>Training on Q1-Q3 transaction history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200">
                <a:latin typeface="Arial" panose="020B0604020202020204" pitchFamily="34" charset="0"/>
                <a:cs typeface="Arial" panose="020B0604020202020204" pitchFamily="34" charset="0"/>
              </a:rPr>
              <a:t>Prediction designed to parse customers likely ordering in the few week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Rectangle 106">
            <a:extLst>
              <a:ext uri="{FF2B5EF4-FFF2-40B4-BE49-F238E27FC236}">
                <a16:creationId xmlns:a16="http://schemas.microsoft.com/office/drawing/2014/main" id="{0F0C00FB-DED0-54DE-CE7D-ED73C8DCD2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30354" y="20727703"/>
            <a:ext cx="7477259" cy="31096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sz="2000" spc="10">
                <a:latin typeface="Arial" panose="020B0604020202020204" pitchFamily="34" charset="0"/>
                <a:cs typeface="Arial" panose="020B0604020202020204" pitchFamily="34" charset="0"/>
              </a:rPr>
              <a:t>Fig. 5. </a:t>
            </a:r>
            <a:r>
              <a:rPr lang="en-US" sz="2000" i="1" spc="10">
                <a:latin typeface="Arial" panose="020B0604020202020204" pitchFamily="34" charset="0"/>
                <a:cs typeface="Arial" panose="020B0604020202020204" pitchFamily="34" charset="0"/>
              </a:rPr>
              <a:t>Overall Model methodology</a:t>
            </a:r>
          </a:p>
        </p:txBody>
      </p:sp>
      <p:pic>
        <p:nvPicPr>
          <p:cNvPr id="16386" name="Picture 2" descr="Image result for purdue university wallpaper linkedin">
            <a:extLst>
              <a:ext uri="{FF2B5EF4-FFF2-40B4-BE49-F238E27FC236}">
                <a16:creationId xmlns:a16="http://schemas.microsoft.com/office/drawing/2014/main" id="{657C0E18-27F1-B355-13C1-FD874028C1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291" b="24775"/>
          <a:stretch/>
        </p:blipFill>
        <p:spPr bwMode="auto">
          <a:xfrm>
            <a:off x="-106185" y="-6174"/>
            <a:ext cx="7563721" cy="1803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347A257-ED40-903A-3472-FAD5AD29A1E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2159300" y="4557522"/>
            <a:ext cx="7306218" cy="5028454"/>
          </a:xfrm>
          <a:prstGeom prst="rect">
            <a:avLst/>
          </a:prstGeom>
          <a:ln>
            <a:solidFill>
              <a:srgbClr val="B1810B"/>
            </a:solidFill>
          </a:ln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770D471-9297-4286-5B14-B1AECB4F3480}"/>
              </a:ext>
            </a:extLst>
          </p:cNvPr>
          <p:cNvSpPr/>
          <p:nvPr/>
        </p:nvSpPr>
        <p:spPr bwMode="auto">
          <a:xfrm>
            <a:off x="37279286" y="6228789"/>
            <a:ext cx="3520291" cy="1011331"/>
          </a:xfrm>
          <a:prstGeom prst="roundRect">
            <a:avLst/>
          </a:prstGeom>
          <a:solidFill>
            <a:srgbClr val="DEC69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9" name="Rectangle 106">
            <a:extLst>
              <a:ext uri="{FF2B5EF4-FFF2-40B4-BE49-F238E27FC236}">
                <a16:creationId xmlns:a16="http://schemas.microsoft.com/office/drawing/2014/main" id="{1816D4F1-1588-E803-8E1E-BA772BDFCE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448510" y="6138876"/>
            <a:ext cx="3047434" cy="46567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sz="2000" b="1" spc="10">
                <a:latin typeface="Ariel"/>
                <a:cs typeface="Times"/>
              </a:rPr>
              <a:t>RANDOMIZATION UNIT</a:t>
            </a:r>
            <a:endParaRPr lang="en-US" sz="2000" b="1" spc="10">
              <a:cs typeface="Times"/>
            </a:endParaRPr>
          </a:p>
          <a:p>
            <a:pPr algn="just"/>
            <a:endParaRPr lang="en-US" sz="2000" spc="10">
              <a:latin typeface="Times New Roman"/>
              <a:cs typeface="Times"/>
            </a:endParaRPr>
          </a:p>
          <a:p>
            <a:pPr algn="just"/>
            <a:endParaRPr lang="en-US" sz="20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4853A2A-EE4A-8440-925A-6699B2619AA8}"/>
              </a:ext>
            </a:extLst>
          </p:cNvPr>
          <p:cNvSpPr/>
          <p:nvPr/>
        </p:nvSpPr>
        <p:spPr bwMode="auto">
          <a:xfrm>
            <a:off x="37417792" y="6717033"/>
            <a:ext cx="3220837" cy="40607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45" name="Rectangle 106">
            <a:extLst>
              <a:ext uri="{FF2B5EF4-FFF2-40B4-BE49-F238E27FC236}">
                <a16:creationId xmlns:a16="http://schemas.microsoft.com/office/drawing/2014/main" id="{825BA958-86AD-C2FF-281F-303CD1BC84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57975" y="6573331"/>
            <a:ext cx="3586827" cy="46567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sz="2000" spc="10">
                <a:latin typeface="Arial" panose="020B0604020202020204" pitchFamily="34" charset="0"/>
                <a:cs typeface="Arial" panose="020B0604020202020204" pitchFamily="34" charset="0"/>
              </a:rPr>
              <a:t>Alternate weeks of a Month </a:t>
            </a:r>
          </a:p>
          <a:p>
            <a:pPr algn="just"/>
            <a:endParaRPr lang="en-US" sz="20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DFA3F93D-984C-B6B6-F2CC-E7399DA748AF}"/>
              </a:ext>
            </a:extLst>
          </p:cNvPr>
          <p:cNvSpPr/>
          <p:nvPr/>
        </p:nvSpPr>
        <p:spPr bwMode="auto">
          <a:xfrm>
            <a:off x="35051475" y="7950559"/>
            <a:ext cx="3541276" cy="1427531"/>
          </a:xfrm>
          <a:prstGeom prst="roundRect">
            <a:avLst/>
          </a:prstGeom>
          <a:solidFill>
            <a:srgbClr val="DEC69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27C063A1-9AEB-2D66-6B85-8ED148481693}"/>
              </a:ext>
            </a:extLst>
          </p:cNvPr>
          <p:cNvSpPr/>
          <p:nvPr/>
        </p:nvSpPr>
        <p:spPr bwMode="auto">
          <a:xfrm>
            <a:off x="39386636" y="7950179"/>
            <a:ext cx="3322319" cy="1639998"/>
          </a:xfrm>
          <a:prstGeom prst="roundRect">
            <a:avLst/>
          </a:prstGeom>
          <a:solidFill>
            <a:srgbClr val="DEC69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BDA8FF07-5798-D818-968E-DA7D82201224}"/>
              </a:ext>
            </a:extLst>
          </p:cNvPr>
          <p:cNvSpPr/>
          <p:nvPr/>
        </p:nvSpPr>
        <p:spPr bwMode="auto">
          <a:xfrm>
            <a:off x="36672175" y="7436509"/>
            <a:ext cx="4499610" cy="135022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80" name="Arrow: Down 79">
            <a:extLst>
              <a:ext uri="{FF2B5EF4-FFF2-40B4-BE49-F238E27FC236}">
                <a16:creationId xmlns:a16="http://schemas.microsoft.com/office/drawing/2014/main" id="{408219EF-1578-CF74-112E-45B5E2A0DC5B}"/>
              </a:ext>
            </a:extLst>
          </p:cNvPr>
          <p:cNvSpPr/>
          <p:nvPr/>
        </p:nvSpPr>
        <p:spPr bwMode="auto">
          <a:xfrm>
            <a:off x="36613884" y="7436508"/>
            <a:ext cx="208196" cy="503435"/>
          </a:xfrm>
          <a:prstGeom prst="downArrow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83" name="Arrow: Down 82">
            <a:extLst>
              <a:ext uri="{FF2B5EF4-FFF2-40B4-BE49-F238E27FC236}">
                <a16:creationId xmlns:a16="http://schemas.microsoft.com/office/drawing/2014/main" id="{7AFB26B7-267A-F5B8-AFE5-3B37CC6B1C1F}"/>
              </a:ext>
            </a:extLst>
          </p:cNvPr>
          <p:cNvSpPr/>
          <p:nvPr/>
        </p:nvSpPr>
        <p:spPr bwMode="auto">
          <a:xfrm>
            <a:off x="41005550" y="7453899"/>
            <a:ext cx="221691" cy="483949"/>
          </a:xfrm>
          <a:prstGeom prst="downArrow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92FF60D-3535-9702-9ECB-7121D73F2FA4}"/>
              </a:ext>
            </a:extLst>
          </p:cNvPr>
          <p:cNvSpPr/>
          <p:nvPr/>
        </p:nvSpPr>
        <p:spPr bwMode="auto">
          <a:xfrm>
            <a:off x="35263560" y="8496867"/>
            <a:ext cx="3078480" cy="7563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84" name="Rectangle 106">
            <a:extLst>
              <a:ext uri="{FF2B5EF4-FFF2-40B4-BE49-F238E27FC236}">
                <a16:creationId xmlns:a16="http://schemas.microsoft.com/office/drawing/2014/main" id="{4F819411-E8D0-C1B1-76FD-1061F1A03A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88195" y="8365474"/>
            <a:ext cx="3455388" cy="46567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altLang="en-US" sz="2000" spc="10">
                <a:latin typeface="Arial"/>
                <a:cs typeface="Arial"/>
              </a:rPr>
              <a:t>Shown </a:t>
            </a:r>
            <a:r>
              <a:rPr lang="en-US" altLang="en-US" sz="2000" b="1" spc="10">
                <a:latin typeface="Arial"/>
                <a:cs typeface="Arial"/>
              </a:rPr>
              <a:t>current national campaign advertisement</a:t>
            </a:r>
            <a:endParaRPr lang="en-US" sz="20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Rectangle 106">
            <a:extLst>
              <a:ext uri="{FF2B5EF4-FFF2-40B4-BE49-F238E27FC236}">
                <a16:creationId xmlns:a16="http://schemas.microsoft.com/office/drawing/2014/main" id="{D74AA83C-63FD-D361-83A0-90D71A31C1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294606" y="7910427"/>
            <a:ext cx="3047434" cy="46567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sz="2000" b="1" spc="10">
                <a:latin typeface="Ariel"/>
                <a:cs typeface="Times"/>
              </a:rPr>
              <a:t>CONTROL GROUP</a:t>
            </a:r>
            <a:endParaRPr lang="en-US" sz="2000" b="1" spc="10">
              <a:cs typeface="Times"/>
            </a:endParaRPr>
          </a:p>
          <a:p>
            <a:pPr algn="just"/>
            <a:endParaRPr lang="en-US" sz="2000" spc="10">
              <a:latin typeface="Times New Roman"/>
              <a:cs typeface="Times"/>
            </a:endParaRPr>
          </a:p>
          <a:p>
            <a:pPr algn="just"/>
            <a:endParaRPr lang="en-US" sz="20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917C18F5-E721-C094-5F10-D1E3059C2A80}"/>
              </a:ext>
            </a:extLst>
          </p:cNvPr>
          <p:cNvSpPr/>
          <p:nvPr/>
        </p:nvSpPr>
        <p:spPr bwMode="auto">
          <a:xfrm>
            <a:off x="39510673" y="8474668"/>
            <a:ext cx="3078480" cy="98575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90" name="Rectangle 106">
            <a:extLst>
              <a:ext uri="{FF2B5EF4-FFF2-40B4-BE49-F238E27FC236}">
                <a16:creationId xmlns:a16="http://schemas.microsoft.com/office/drawing/2014/main" id="{F81134E0-2868-87F3-B162-4D53F16F75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21133" y="8338884"/>
            <a:ext cx="3541277" cy="46567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altLang="en-US" sz="2000" spc="10">
                <a:latin typeface="Arial"/>
                <a:cs typeface="Arial"/>
              </a:rPr>
              <a:t>Campaign shown with </a:t>
            </a:r>
            <a:r>
              <a:rPr lang="en-US" altLang="en-US" sz="2000" b="1" spc="10">
                <a:latin typeface="Arial"/>
                <a:cs typeface="Arial"/>
              </a:rPr>
              <a:t>products in prediction basket</a:t>
            </a:r>
            <a:endParaRPr lang="en-US" sz="20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Rectangle 106">
            <a:extLst>
              <a:ext uri="{FF2B5EF4-FFF2-40B4-BE49-F238E27FC236}">
                <a16:creationId xmlns:a16="http://schemas.microsoft.com/office/drawing/2014/main" id="{8FEA4410-B9A9-050C-181C-E70027C144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24078" y="7891387"/>
            <a:ext cx="3047434" cy="46567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sz="2000" b="1" spc="10">
                <a:latin typeface="Ariel"/>
                <a:cs typeface="Times"/>
              </a:rPr>
              <a:t>TREATMENT GROUP</a:t>
            </a:r>
            <a:endParaRPr lang="en-US" sz="2000" b="1" spc="10">
              <a:cs typeface="Times"/>
            </a:endParaRPr>
          </a:p>
          <a:p>
            <a:pPr algn="just"/>
            <a:endParaRPr lang="en-US" sz="2000" spc="10">
              <a:latin typeface="Times New Roman"/>
              <a:cs typeface="Times"/>
            </a:endParaRPr>
          </a:p>
          <a:p>
            <a:pPr algn="just"/>
            <a:endParaRPr lang="en-US" sz="20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FCB7BC34-8099-5727-A415-210E108FF2A3}"/>
              </a:ext>
            </a:extLst>
          </p:cNvPr>
          <p:cNvSpPr/>
          <p:nvPr/>
        </p:nvSpPr>
        <p:spPr bwMode="auto">
          <a:xfrm>
            <a:off x="36684959" y="9861293"/>
            <a:ext cx="4499610" cy="135022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95" name="Arrow: Down 94">
            <a:extLst>
              <a:ext uri="{FF2B5EF4-FFF2-40B4-BE49-F238E27FC236}">
                <a16:creationId xmlns:a16="http://schemas.microsoft.com/office/drawing/2014/main" id="{5AD0CFE5-1151-CF4D-9921-AC1C0EAF73E6}"/>
              </a:ext>
            </a:extLst>
          </p:cNvPr>
          <p:cNvSpPr/>
          <p:nvPr/>
        </p:nvSpPr>
        <p:spPr bwMode="auto">
          <a:xfrm>
            <a:off x="36613884" y="9403823"/>
            <a:ext cx="279390" cy="451261"/>
          </a:xfrm>
          <a:prstGeom prst="downArrow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97" name="Arrow: Down 96">
            <a:extLst>
              <a:ext uri="{FF2B5EF4-FFF2-40B4-BE49-F238E27FC236}">
                <a16:creationId xmlns:a16="http://schemas.microsoft.com/office/drawing/2014/main" id="{F5EAD4A0-E7CA-975F-C93B-2AA620B50532}"/>
              </a:ext>
            </a:extLst>
          </p:cNvPr>
          <p:cNvSpPr/>
          <p:nvPr/>
        </p:nvSpPr>
        <p:spPr bwMode="auto">
          <a:xfrm>
            <a:off x="38822923" y="9933856"/>
            <a:ext cx="228465" cy="532502"/>
          </a:xfrm>
          <a:prstGeom prst="downArrow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98" name="Rectangle: Rounded Corners 97">
            <a:extLst>
              <a:ext uri="{FF2B5EF4-FFF2-40B4-BE49-F238E27FC236}">
                <a16:creationId xmlns:a16="http://schemas.microsoft.com/office/drawing/2014/main" id="{31E6682B-5530-6673-DBF6-FBA64536C441}"/>
              </a:ext>
            </a:extLst>
          </p:cNvPr>
          <p:cNvSpPr/>
          <p:nvPr/>
        </p:nvSpPr>
        <p:spPr bwMode="auto">
          <a:xfrm>
            <a:off x="37316310" y="10432308"/>
            <a:ext cx="3322319" cy="1376461"/>
          </a:xfrm>
          <a:prstGeom prst="roundRect">
            <a:avLst/>
          </a:prstGeom>
          <a:solidFill>
            <a:srgbClr val="DEC69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99" name="Rectangle 106">
            <a:extLst>
              <a:ext uri="{FF2B5EF4-FFF2-40B4-BE49-F238E27FC236}">
                <a16:creationId xmlns:a16="http://schemas.microsoft.com/office/drawing/2014/main" id="{8B999864-4B4C-B159-E49E-B456AF4C78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97404" y="10299621"/>
            <a:ext cx="3455388" cy="46567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sz="2000" b="1" spc="10">
                <a:latin typeface="Ariel"/>
                <a:cs typeface="Times"/>
              </a:rPr>
              <a:t>OUTCOME METRIC</a:t>
            </a:r>
            <a:endParaRPr lang="en-US" sz="2000" b="1" spc="10">
              <a:latin typeface="Times New Roman"/>
              <a:cs typeface="Times"/>
            </a:endParaRPr>
          </a:p>
          <a:p>
            <a:pPr algn="just"/>
            <a:endParaRPr lang="en-US" sz="20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C5C30E61-5399-D2D9-868B-A512E334F2D8}"/>
              </a:ext>
            </a:extLst>
          </p:cNvPr>
          <p:cNvSpPr/>
          <p:nvPr/>
        </p:nvSpPr>
        <p:spPr bwMode="auto">
          <a:xfrm>
            <a:off x="37432597" y="10857449"/>
            <a:ext cx="3078480" cy="7563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00" name="Rectangle 106">
            <a:extLst>
              <a:ext uri="{FF2B5EF4-FFF2-40B4-BE49-F238E27FC236}">
                <a16:creationId xmlns:a16="http://schemas.microsoft.com/office/drawing/2014/main" id="{EAA3AD9C-BDE8-DDD4-F436-E92492E879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62313" y="10723512"/>
            <a:ext cx="3455388" cy="1036483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sz="2000" b="1" spc="10">
                <a:latin typeface="Ariel"/>
                <a:cs typeface="Times"/>
              </a:rPr>
              <a:t>ORDER</a:t>
            </a:r>
            <a:r>
              <a:rPr lang="en-US" sz="2000" spc="10">
                <a:latin typeface="Ariel"/>
                <a:cs typeface="Times"/>
              </a:rPr>
              <a:t> Conversion Rate</a:t>
            </a:r>
          </a:p>
          <a:p>
            <a:pPr algn="ctr"/>
            <a:r>
              <a:rPr lang="en-US" sz="2000" spc="10">
                <a:latin typeface="Ariel"/>
                <a:cs typeface="Times"/>
              </a:rPr>
              <a:t>Average Order Price</a:t>
            </a:r>
            <a:endParaRPr lang="en-US" sz="2000" spc="10">
              <a:latin typeface="Times New Roman"/>
              <a:cs typeface="Times"/>
            </a:endParaRPr>
          </a:p>
          <a:p>
            <a:pPr algn="just"/>
            <a:endParaRPr lang="en-US" sz="20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Arrow: Down 101">
            <a:extLst>
              <a:ext uri="{FF2B5EF4-FFF2-40B4-BE49-F238E27FC236}">
                <a16:creationId xmlns:a16="http://schemas.microsoft.com/office/drawing/2014/main" id="{EF6B5435-B2AE-920B-E460-83B95E1CD58C}"/>
              </a:ext>
            </a:extLst>
          </p:cNvPr>
          <p:cNvSpPr/>
          <p:nvPr/>
        </p:nvSpPr>
        <p:spPr bwMode="auto">
          <a:xfrm>
            <a:off x="38910556" y="11839044"/>
            <a:ext cx="256612" cy="461452"/>
          </a:xfrm>
          <a:prstGeom prst="downArrow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36FAFFBF-DD06-DF0A-826A-C28F459BD54F}"/>
              </a:ext>
            </a:extLst>
          </p:cNvPr>
          <p:cNvSpPr/>
          <p:nvPr/>
        </p:nvSpPr>
        <p:spPr bwMode="auto">
          <a:xfrm>
            <a:off x="36740202" y="12293540"/>
            <a:ext cx="4499610" cy="135022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05" name="Arrow: Down 104">
            <a:extLst>
              <a:ext uri="{FF2B5EF4-FFF2-40B4-BE49-F238E27FC236}">
                <a16:creationId xmlns:a16="http://schemas.microsoft.com/office/drawing/2014/main" id="{F432B146-ECDD-5956-9F84-E8FB3E0D424A}"/>
              </a:ext>
            </a:extLst>
          </p:cNvPr>
          <p:cNvSpPr/>
          <p:nvPr/>
        </p:nvSpPr>
        <p:spPr bwMode="auto">
          <a:xfrm>
            <a:off x="36697152" y="12294450"/>
            <a:ext cx="184436" cy="451084"/>
          </a:xfrm>
          <a:prstGeom prst="downArrow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09" name="Arrow: Down 108">
            <a:extLst>
              <a:ext uri="{FF2B5EF4-FFF2-40B4-BE49-F238E27FC236}">
                <a16:creationId xmlns:a16="http://schemas.microsoft.com/office/drawing/2014/main" id="{AE884849-D663-72EC-7842-D2EE0D534614}"/>
              </a:ext>
            </a:extLst>
          </p:cNvPr>
          <p:cNvSpPr/>
          <p:nvPr/>
        </p:nvSpPr>
        <p:spPr bwMode="auto">
          <a:xfrm>
            <a:off x="41111111" y="12309149"/>
            <a:ext cx="168087" cy="439892"/>
          </a:xfrm>
          <a:prstGeom prst="downArrow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CA838BE6-5F34-BF8B-2FC3-59C8FC99CEF6}"/>
              </a:ext>
            </a:extLst>
          </p:cNvPr>
          <p:cNvSpPr/>
          <p:nvPr/>
        </p:nvSpPr>
        <p:spPr bwMode="auto">
          <a:xfrm>
            <a:off x="35408760" y="12741316"/>
            <a:ext cx="2871429" cy="1203621"/>
          </a:xfrm>
          <a:prstGeom prst="roundRect">
            <a:avLst/>
          </a:prstGeom>
          <a:solidFill>
            <a:srgbClr val="DEC69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AFE9E8E0-B00D-FD76-A4DE-52C68E2F4178}"/>
              </a:ext>
            </a:extLst>
          </p:cNvPr>
          <p:cNvSpPr/>
          <p:nvPr/>
        </p:nvSpPr>
        <p:spPr bwMode="auto">
          <a:xfrm>
            <a:off x="39560482" y="12760256"/>
            <a:ext cx="3322319" cy="1182152"/>
          </a:xfrm>
          <a:prstGeom prst="roundRect">
            <a:avLst/>
          </a:prstGeom>
          <a:solidFill>
            <a:srgbClr val="DEC69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12" name="Rectangle 106">
            <a:extLst>
              <a:ext uri="{FF2B5EF4-FFF2-40B4-BE49-F238E27FC236}">
                <a16:creationId xmlns:a16="http://schemas.microsoft.com/office/drawing/2014/main" id="{B9B7A0FF-C51A-7A80-BBC4-5CE11CA9C8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155965" y="12644058"/>
            <a:ext cx="3482574" cy="46567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sz="2000" b="1" spc="10">
                <a:latin typeface="Ariel"/>
                <a:cs typeface="Times"/>
              </a:rPr>
              <a:t>NULL HYPOTHESIS (</a:t>
            </a:r>
            <a:r>
              <a:rPr lang="en-US" sz="1800" b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</a:t>
            </a:r>
            <a:r>
              <a:rPr lang="en-US" sz="1800" b="1" baseline="-2500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</a:t>
            </a:r>
            <a:r>
              <a:rPr lang="en-US" sz="2000" b="1" spc="10">
                <a:cs typeface="Times"/>
              </a:rPr>
              <a:t>)</a:t>
            </a:r>
          </a:p>
          <a:p>
            <a:pPr algn="just"/>
            <a:endParaRPr lang="en-US" sz="2000" spc="10">
              <a:latin typeface="Times New Roman"/>
              <a:cs typeface="Times"/>
            </a:endParaRPr>
          </a:p>
          <a:p>
            <a:pPr algn="just"/>
            <a:endParaRPr lang="en-US" sz="20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06">
            <a:extLst>
              <a:ext uri="{FF2B5EF4-FFF2-40B4-BE49-F238E27FC236}">
                <a16:creationId xmlns:a16="http://schemas.microsoft.com/office/drawing/2014/main" id="{F7360971-7D8E-B0FE-AA57-FF75F153FA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60482" y="12649316"/>
            <a:ext cx="3482574" cy="46567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sz="2000" b="1" spc="10">
                <a:latin typeface="Ariel"/>
                <a:cs typeface="Times"/>
              </a:rPr>
              <a:t>ALTERNATE HYPOTHESIS (</a:t>
            </a:r>
            <a:r>
              <a:rPr lang="en-US" sz="1800" b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</a:t>
            </a:r>
            <a:r>
              <a:rPr lang="en-US" sz="1800" b="1" baseline="-2500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</a:t>
            </a:r>
            <a:r>
              <a:rPr lang="en-US" sz="2000" b="1" spc="10">
                <a:cs typeface="Times"/>
              </a:rPr>
              <a:t>)</a:t>
            </a:r>
          </a:p>
          <a:p>
            <a:pPr algn="just"/>
            <a:endParaRPr lang="en-US" sz="2000" spc="10">
              <a:latin typeface="Times New Roman"/>
              <a:cs typeface="Times"/>
            </a:endParaRPr>
          </a:p>
          <a:p>
            <a:pPr algn="just"/>
            <a:endParaRPr lang="en-US" sz="20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F5E05B69-A45C-E563-39C0-338E94ED9410}"/>
              </a:ext>
            </a:extLst>
          </p:cNvPr>
          <p:cNvSpPr/>
          <p:nvPr/>
        </p:nvSpPr>
        <p:spPr bwMode="auto">
          <a:xfrm>
            <a:off x="35909737" y="13173251"/>
            <a:ext cx="1972734" cy="48200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18" name="Rectangle 106">
            <a:extLst>
              <a:ext uri="{FF2B5EF4-FFF2-40B4-BE49-F238E27FC236}">
                <a16:creationId xmlns:a16="http://schemas.microsoft.com/office/drawing/2014/main" id="{08A85F77-0096-5FA3-55C1-D58C650243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09737" y="12968916"/>
            <a:ext cx="2042572" cy="722723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b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µ</a:t>
            </a:r>
            <a:r>
              <a:rPr lang="en-IN" b="1" baseline="-250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fore</a:t>
            </a:r>
            <a:r>
              <a:rPr lang="en-IN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IN" b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µ</a:t>
            </a:r>
            <a:r>
              <a:rPr lang="en-IN" b="1" baseline="-250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fter</a:t>
            </a:r>
            <a:endParaRPr lang="en-IN" b="1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endParaRPr lang="en-US" sz="20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1EA30944-F8B4-3F7C-5679-1C1E6561812C}"/>
              </a:ext>
            </a:extLst>
          </p:cNvPr>
          <p:cNvSpPr/>
          <p:nvPr/>
        </p:nvSpPr>
        <p:spPr bwMode="auto">
          <a:xfrm>
            <a:off x="40257912" y="13170634"/>
            <a:ext cx="1949268" cy="55585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23" name="Rectangle 106">
            <a:extLst>
              <a:ext uri="{FF2B5EF4-FFF2-40B4-BE49-F238E27FC236}">
                <a16:creationId xmlns:a16="http://schemas.microsoft.com/office/drawing/2014/main" id="{3648BB91-E859-4C4E-5233-1DA51C30EE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57912" y="13016816"/>
            <a:ext cx="2042572" cy="722723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b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µ</a:t>
            </a:r>
            <a:r>
              <a:rPr lang="en-IN" b="1" baseline="-250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fore </a:t>
            </a:r>
            <a:r>
              <a:rPr lang="en-IN" b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&lt; µ</a:t>
            </a:r>
            <a:r>
              <a:rPr lang="en-IN" b="1" baseline="-250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ft</a:t>
            </a:r>
            <a:r>
              <a:rPr lang="en-IN" baseline="-250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r</a:t>
            </a:r>
            <a:endParaRPr lang="en-IN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3BAEA3BC-634F-072D-6B75-F3B5E39EE86C}"/>
              </a:ext>
            </a:extLst>
          </p:cNvPr>
          <p:cNvSpPr/>
          <p:nvPr/>
        </p:nvSpPr>
        <p:spPr bwMode="auto">
          <a:xfrm>
            <a:off x="37168343" y="19562475"/>
            <a:ext cx="2939959" cy="450682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effectLst/>
              <a:latin typeface="Times" charset="0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136AE146-2840-3EFE-7A8D-6DA770B52C22}"/>
              </a:ext>
            </a:extLst>
          </p:cNvPr>
          <p:cNvSpPr/>
          <p:nvPr/>
        </p:nvSpPr>
        <p:spPr bwMode="auto">
          <a:xfrm>
            <a:off x="33718444" y="19602196"/>
            <a:ext cx="3071650" cy="450682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effectLst/>
              <a:latin typeface="Times" charset="0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D4E4B536-BD1D-2B11-ED0B-9CE5D0C2316C}"/>
              </a:ext>
            </a:extLst>
          </p:cNvPr>
          <p:cNvSpPr/>
          <p:nvPr/>
        </p:nvSpPr>
        <p:spPr bwMode="auto">
          <a:xfrm>
            <a:off x="33635564" y="19513217"/>
            <a:ext cx="3074353" cy="450682"/>
          </a:xfrm>
          <a:prstGeom prst="rect">
            <a:avLst/>
          </a:prstGeom>
          <a:solidFill>
            <a:srgbClr val="DEC69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31" name="Rectangle 106">
            <a:extLst>
              <a:ext uri="{FF2B5EF4-FFF2-40B4-BE49-F238E27FC236}">
                <a16:creationId xmlns:a16="http://schemas.microsoft.com/office/drawing/2014/main" id="{EA86F069-7405-5D06-7D16-CB5470C4D9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719749" y="19455859"/>
            <a:ext cx="3195361" cy="200531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b="1" spc="10">
                <a:latin typeface="Arial" panose="020B0604020202020204" pitchFamily="34" charset="0"/>
                <a:cs typeface="Arial" panose="020B0604020202020204" pitchFamily="34" charset="0"/>
              </a:rPr>
              <a:t>Order Conversion </a:t>
            </a:r>
          </a:p>
          <a:p>
            <a:pPr algn="just"/>
            <a:endParaRPr lang="en-US" spc="10">
              <a:latin typeface="Times New Roman"/>
              <a:cs typeface="Times"/>
            </a:endParaRPr>
          </a:p>
          <a:p>
            <a:pPr algn="just"/>
            <a:endParaRPr lang="en-US" sz="20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Arrow: Up 131">
            <a:extLst>
              <a:ext uri="{FF2B5EF4-FFF2-40B4-BE49-F238E27FC236}">
                <a16:creationId xmlns:a16="http://schemas.microsoft.com/office/drawing/2014/main" id="{C0216979-E722-0227-49E0-464A9AA5BB3B}"/>
              </a:ext>
            </a:extLst>
          </p:cNvPr>
          <p:cNvSpPr/>
          <p:nvPr/>
        </p:nvSpPr>
        <p:spPr bwMode="auto">
          <a:xfrm>
            <a:off x="33740697" y="19570844"/>
            <a:ext cx="182879" cy="307500"/>
          </a:xfrm>
          <a:prstGeom prst="upArrow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78E0007C-DB62-8E9B-3E3F-C02543DC061A}"/>
              </a:ext>
            </a:extLst>
          </p:cNvPr>
          <p:cNvSpPr/>
          <p:nvPr/>
        </p:nvSpPr>
        <p:spPr bwMode="auto">
          <a:xfrm>
            <a:off x="37089595" y="19501666"/>
            <a:ext cx="2939959" cy="450682"/>
          </a:xfrm>
          <a:prstGeom prst="rect">
            <a:avLst/>
          </a:prstGeom>
          <a:solidFill>
            <a:srgbClr val="DEC69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34" name="Rectangle 106">
            <a:extLst>
              <a:ext uri="{FF2B5EF4-FFF2-40B4-BE49-F238E27FC236}">
                <a16:creationId xmlns:a16="http://schemas.microsoft.com/office/drawing/2014/main" id="{217E1302-DDBD-A602-0F45-271EF6989E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69824" y="19411753"/>
            <a:ext cx="3029253" cy="200531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sz="2800" b="1" spc="10">
                <a:latin typeface="Ariel"/>
                <a:cs typeface="Times"/>
              </a:rPr>
              <a:t>Avg. Order Price </a:t>
            </a:r>
          </a:p>
          <a:p>
            <a:pPr algn="just"/>
            <a:endParaRPr lang="en-US" spc="10">
              <a:latin typeface="Times New Roman"/>
              <a:cs typeface="Times"/>
            </a:endParaRPr>
          </a:p>
          <a:p>
            <a:pPr algn="just"/>
            <a:endParaRPr lang="en-US" sz="22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7137DA57-7B27-E6FD-9270-FFE1D1064392}"/>
              </a:ext>
            </a:extLst>
          </p:cNvPr>
          <p:cNvSpPr/>
          <p:nvPr/>
        </p:nvSpPr>
        <p:spPr bwMode="auto">
          <a:xfrm>
            <a:off x="40696826" y="19562670"/>
            <a:ext cx="3173148" cy="450682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effectLst/>
              <a:latin typeface="Times" charset="0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7B409DA8-1104-99F3-7940-7CE1E078384D}"/>
              </a:ext>
            </a:extLst>
          </p:cNvPr>
          <p:cNvSpPr/>
          <p:nvPr/>
        </p:nvSpPr>
        <p:spPr bwMode="auto">
          <a:xfrm>
            <a:off x="40599584" y="19505974"/>
            <a:ext cx="3210374" cy="450682"/>
          </a:xfrm>
          <a:prstGeom prst="rect">
            <a:avLst/>
          </a:prstGeom>
          <a:solidFill>
            <a:srgbClr val="DEC69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40" name="Rectangle 106">
            <a:extLst>
              <a:ext uri="{FF2B5EF4-FFF2-40B4-BE49-F238E27FC236}">
                <a16:creationId xmlns:a16="http://schemas.microsoft.com/office/drawing/2014/main" id="{F7550B9B-C3DC-9292-2A54-B19F6F96CE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6690" y="19345026"/>
            <a:ext cx="3631424" cy="332499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sz="2800" b="1" spc="10">
                <a:latin typeface="Ariel"/>
                <a:cs typeface="Times"/>
              </a:rPr>
              <a:t>Campaign Wastage </a:t>
            </a:r>
          </a:p>
          <a:p>
            <a:pPr algn="just"/>
            <a:endParaRPr lang="en-US" spc="10">
              <a:latin typeface="Times New Roman"/>
              <a:cs typeface="Times"/>
            </a:endParaRPr>
          </a:p>
          <a:p>
            <a:pPr algn="just"/>
            <a:endParaRPr lang="en-US" sz="22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Arrow: Up 140">
            <a:extLst>
              <a:ext uri="{FF2B5EF4-FFF2-40B4-BE49-F238E27FC236}">
                <a16:creationId xmlns:a16="http://schemas.microsoft.com/office/drawing/2014/main" id="{C2861986-89CB-BB08-7908-CA291F74B418}"/>
              </a:ext>
            </a:extLst>
          </p:cNvPr>
          <p:cNvSpPr/>
          <p:nvPr/>
        </p:nvSpPr>
        <p:spPr bwMode="auto">
          <a:xfrm>
            <a:off x="37182910" y="19570844"/>
            <a:ext cx="182879" cy="307500"/>
          </a:xfrm>
          <a:prstGeom prst="upArrow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42" name="Arrow: Up 141">
            <a:extLst>
              <a:ext uri="{FF2B5EF4-FFF2-40B4-BE49-F238E27FC236}">
                <a16:creationId xmlns:a16="http://schemas.microsoft.com/office/drawing/2014/main" id="{6418CB12-8B91-1ABF-3352-7DC776B1263C}"/>
              </a:ext>
            </a:extLst>
          </p:cNvPr>
          <p:cNvSpPr/>
          <p:nvPr/>
        </p:nvSpPr>
        <p:spPr bwMode="auto">
          <a:xfrm rot="10800000">
            <a:off x="40669431" y="19584808"/>
            <a:ext cx="182879" cy="307500"/>
          </a:xfrm>
          <a:prstGeom prst="upArrow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43" name="Rectangle: Rounded Corners 142">
            <a:extLst>
              <a:ext uri="{FF2B5EF4-FFF2-40B4-BE49-F238E27FC236}">
                <a16:creationId xmlns:a16="http://schemas.microsoft.com/office/drawing/2014/main" id="{0BA43450-ED6E-BC83-D553-2DF04780F0A0}"/>
              </a:ext>
            </a:extLst>
          </p:cNvPr>
          <p:cNvSpPr/>
          <p:nvPr/>
        </p:nvSpPr>
        <p:spPr bwMode="auto">
          <a:xfrm>
            <a:off x="33635563" y="16153043"/>
            <a:ext cx="2238585" cy="684918"/>
          </a:xfrm>
          <a:prstGeom prst="roundRect">
            <a:avLst/>
          </a:prstGeom>
          <a:solidFill>
            <a:srgbClr val="DDC69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EC281499-92F6-5DA0-2B45-46BED82AC813}"/>
              </a:ext>
            </a:extLst>
          </p:cNvPr>
          <p:cNvSpPr txBox="1"/>
          <p:nvPr/>
        </p:nvSpPr>
        <p:spPr>
          <a:xfrm>
            <a:off x="33636030" y="16280058"/>
            <a:ext cx="2536799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200" b="1">
                <a:latin typeface="Arial" panose="020B0604020202020204" pitchFamily="34" charset="0"/>
                <a:cs typeface="Arial" panose="020B0604020202020204" pitchFamily="34" charset="0"/>
              </a:rPr>
              <a:t>SOURCE DATA</a:t>
            </a:r>
            <a:endParaRPr lang="en-US" sz="2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D323F8BA-0E57-0F9D-DFB3-2BC1CC84AD66}"/>
              </a:ext>
            </a:extLst>
          </p:cNvPr>
          <p:cNvSpPr txBox="1"/>
          <p:nvPr/>
        </p:nvSpPr>
        <p:spPr>
          <a:xfrm>
            <a:off x="33609497" y="16850485"/>
            <a:ext cx="2324085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200">
                <a:latin typeface="Arial" panose="020B0604020202020204" pitchFamily="34" charset="0"/>
                <a:cs typeface="Arial" panose="020B0604020202020204" pitchFamily="34" charset="0"/>
              </a:rPr>
              <a:t>User-Transaction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4C252508-EFB0-E83E-8163-6A4C9A3835B4}"/>
              </a:ext>
            </a:extLst>
          </p:cNvPr>
          <p:cNvSpPr txBox="1"/>
          <p:nvPr/>
        </p:nvSpPr>
        <p:spPr>
          <a:xfrm>
            <a:off x="37418549" y="16526553"/>
            <a:ext cx="1425478" cy="80655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>
              <a:spcBef>
                <a:spcPct val="50000"/>
              </a:spcBef>
            </a:pPr>
            <a:endParaRPr lang="en-US" altLang="en-US" sz="2400" spc="10">
              <a:latin typeface="Arial"/>
              <a:cs typeface="Arial"/>
            </a:endParaRPr>
          </a:p>
          <a:p>
            <a:r>
              <a:rPr lang="en-US" sz="2200">
                <a:latin typeface="Arial" panose="020B0604020202020204" pitchFamily="34" charset="0"/>
                <a:cs typeface="Arial" panose="020B0604020202020204" pitchFamily="34" charset="0"/>
              </a:rPr>
              <a:t>&lt;20 Days</a:t>
            </a:r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11A80892-0B9C-098C-2B39-944334EBD1CD}"/>
              </a:ext>
            </a:extLst>
          </p:cNvPr>
          <p:cNvGrpSpPr/>
          <p:nvPr/>
        </p:nvGrpSpPr>
        <p:grpSpPr>
          <a:xfrm>
            <a:off x="40449867" y="15555889"/>
            <a:ext cx="3290600" cy="1446550"/>
            <a:chOff x="40198407" y="15555889"/>
            <a:chExt cx="3290600" cy="1446550"/>
          </a:xfrm>
        </p:grpSpPr>
        <p:sp>
          <p:nvSpPr>
            <p:cNvPr id="157" name="Rectangle: Rounded Corners 156">
              <a:extLst>
                <a:ext uri="{FF2B5EF4-FFF2-40B4-BE49-F238E27FC236}">
                  <a16:creationId xmlns:a16="http://schemas.microsoft.com/office/drawing/2014/main" id="{61C44DFB-E14A-2DC4-5C08-A7AA1CB9950E}"/>
                </a:ext>
              </a:extLst>
            </p:cNvPr>
            <p:cNvSpPr/>
            <p:nvPr/>
          </p:nvSpPr>
          <p:spPr bwMode="auto">
            <a:xfrm>
              <a:off x="40198407" y="15854850"/>
              <a:ext cx="3217113" cy="1115720"/>
            </a:xfrm>
            <a:prstGeom prst="roundRect">
              <a:avLst/>
            </a:prstGeom>
            <a:solidFill>
              <a:srgbClr val="DDC69A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IN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" charset="0"/>
              </a:endParaRP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9379536F-1161-FB79-E7D7-BF47BBE898DC}"/>
                </a:ext>
              </a:extLst>
            </p:cNvPr>
            <p:cNvSpPr txBox="1"/>
            <p:nvPr/>
          </p:nvSpPr>
          <p:spPr>
            <a:xfrm>
              <a:off x="40237246" y="15555889"/>
              <a:ext cx="3251761" cy="144655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>
                <a:spcBef>
                  <a:spcPct val="50000"/>
                </a:spcBef>
              </a:pPr>
              <a:endParaRPr lang="en-US" altLang="en-US" sz="2200" spc="10">
                <a:latin typeface="Arial"/>
                <a:cs typeface="Arial"/>
              </a:endParaRPr>
            </a:p>
            <a:p>
              <a:pPr algn="ctr"/>
              <a:r>
                <a:rPr lang="en-US" sz="2200" b="1">
                  <a:latin typeface="Arial" panose="020B0604020202020204" pitchFamily="34" charset="0"/>
                  <a:cs typeface="Arial" panose="020B0604020202020204" pitchFamily="34" charset="0"/>
                </a:rPr>
                <a:t>GENERATE PREDICTED % ORDER INCLUSION</a:t>
              </a:r>
              <a:endParaRPr lang="en-US" sz="2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73" name="Arrow: Right 172">
            <a:extLst>
              <a:ext uri="{FF2B5EF4-FFF2-40B4-BE49-F238E27FC236}">
                <a16:creationId xmlns:a16="http://schemas.microsoft.com/office/drawing/2014/main" id="{356C59DA-0CCD-A0DF-110B-9DDB88320AAE}"/>
              </a:ext>
            </a:extLst>
          </p:cNvPr>
          <p:cNvSpPr/>
          <p:nvPr/>
        </p:nvSpPr>
        <p:spPr bwMode="auto">
          <a:xfrm>
            <a:off x="39719164" y="16425107"/>
            <a:ext cx="721334" cy="150635"/>
          </a:xfrm>
          <a:prstGeom prst="rightArrow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83" name="Arrow: Down 182">
            <a:extLst>
              <a:ext uri="{FF2B5EF4-FFF2-40B4-BE49-F238E27FC236}">
                <a16:creationId xmlns:a16="http://schemas.microsoft.com/office/drawing/2014/main" id="{19A1E13F-C0FA-A19E-670C-D867C2403C35}"/>
              </a:ext>
            </a:extLst>
          </p:cNvPr>
          <p:cNvSpPr/>
          <p:nvPr/>
        </p:nvSpPr>
        <p:spPr bwMode="auto">
          <a:xfrm>
            <a:off x="41843402" y="16983568"/>
            <a:ext cx="160015" cy="470781"/>
          </a:xfrm>
          <a:prstGeom prst="downArrow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5CC8ECD1-456A-3E70-F178-7172E28571F5}"/>
              </a:ext>
            </a:extLst>
          </p:cNvPr>
          <p:cNvSpPr/>
          <p:nvPr/>
        </p:nvSpPr>
        <p:spPr bwMode="auto">
          <a:xfrm>
            <a:off x="40137733" y="17472130"/>
            <a:ext cx="3531829" cy="1238972"/>
          </a:xfrm>
          <a:prstGeom prst="roundRect">
            <a:avLst/>
          </a:prstGeom>
          <a:solidFill>
            <a:srgbClr val="DDC69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EA174F1C-6ED3-21C0-5553-500E6ACC3106}"/>
              </a:ext>
            </a:extLst>
          </p:cNvPr>
          <p:cNvSpPr txBox="1"/>
          <p:nvPr/>
        </p:nvSpPr>
        <p:spPr>
          <a:xfrm>
            <a:off x="39978487" y="17182396"/>
            <a:ext cx="3830492" cy="144655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Bef>
                <a:spcPct val="50000"/>
              </a:spcBef>
            </a:pPr>
            <a:endParaRPr lang="en-US" altLang="en-US" sz="2200" spc="10">
              <a:latin typeface="Arial"/>
              <a:cs typeface="Arial"/>
            </a:endParaRPr>
          </a:p>
          <a:p>
            <a:pPr algn="ctr"/>
            <a:r>
              <a:rPr lang="en-US" sz="2200" b="1">
                <a:latin typeface="Arial" panose="020B0604020202020204" pitchFamily="34" charset="0"/>
                <a:cs typeface="Arial" panose="020B0604020202020204" pitchFamily="34" charset="0"/>
              </a:rPr>
              <a:t>FILTER TOP </a:t>
            </a:r>
            <a:r>
              <a:rPr lang="en-US" sz="2200" b="1" i="1"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en-US" sz="2200" b="1">
                <a:latin typeface="Arial" panose="020B0604020202020204" pitchFamily="34" charset="0"/>
                <a:cs typeface="Arial" panose="020B0604020202020204" pitchFamily="34" charset="0"/>
              </a:rPr>
              <a:t> CUSTOMERS BY PRODUCT INCLUSION %</a:t>
            </a:r>
            <a:endParaRPr lang="en-US" sz="2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1" name="Arrow: Right 190">
            <a:extLst>
              <a:ext uri="{FF2B5EF4-FFF2-40B4-BE49-F238E27FC236}">
                <a16:creationId xmlns:a16="http://schemas.microsoft.com/office/drawing/2014/main" id="{52CCD646-2A8C-4389-32A3-B7D090A2B98E}"/>
              </a:ext>
            </a:extLst>
          </p:cNvPr>
          <p:cNvSpPr/>
          <p:nvPr/>
        </p:nvSpPr>
        <p:spPr bwMode="auto">
          <a:xfrm rot="10800000">
            <a:off x="39417305" y="18009818"/>
            <a:ext cx="721334" cy="150635"/>
          </a:xfrm>
          <a:prstGeom prst="rightArrow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92" name="Rectangle: Rounded Corners 191">
            <a:extLst>
              <a:ext uri="{FF2B5EF4-FFF2-40B4-BE49-F238E27FC236}">
                <a16:creationId xmlns:a16="http://schemas.microsoft.com/office/drawing/2014/main" id="{E3AEE2B2-2152-4486-40A0-F5791C3C9963}"/>
              </a:ext>
            </a:extLst>
          </p:cNvPr>
          <p:cNvSpPr/>
          <p:nvPr/>
        </p:nvSpPr>
        <p:spPr bwMode="auto">
          <a:xfrm>
            <a:off x="35869022" y="17503421"/>
            <a:ext cx="3550040" cy="1204146"/>
          </a:xfrm>
          <a:prstGeom prst="roundRect">
            <a:avLst/>
          </a:prstGeom>
          <a:solidFill>
            <a:srgbClr val="DDC69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D40770D1-CB9C-191C-DC6E-8FE2D3217E00}"/>
              </a:ext>
            </a:extLst>
          </p:cNvPr>
          <p:cNvSpPr txBox="1"/>
          <p:nvPr/>
        </p:nvSpPr>
        <p:spPr>
          <a:xfrm>
            <a:off x="35849630" y="17237304"/>
            <a:ext cx="3569115" cy="144655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Bef>
                <a:spcPct val="50000"/>
              </a:spcBef>
            </a:pPr>
            <a:endParaRPr lang="en-US" altLang="en-US" sz="2200" spc="10">
              <a:latin typeface="Arial"/>
              <a:cs typeface="Arial"/>
            </a:endParaRPr>
          </a:p>
          <a:p>
            <a:pPr algn="ctr"/>
            <a:r>
              <a:rPr lang="en-US" sz="2200" b="1">
                <a:latin typeface="Arial" panose="020B0604020202020204" pitchFamily="34" charset="0"/>
                <a:cs typeface="Arial" panose="020B0604020202020204" pitchFamily="34" charset="0"/>
              </a:rPr>
              <a:t>RECIPIENTS OF TARGETED MARKETING CAMPAIGN </a:t>
            </a:r>
            <a:endParaRPr lang="en-US" sz="2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7" name="Rectangle: Rounded Corners 146">
            <a:extLst>
              <a:ext uri="{FF2B5EF4-FFF2-40B4-BE49-F238E27FC236}">
                <a16:creationId xmlns:a16="http://schemas.microsoft.com/office/drawing/2014/main" id="{92330F4A-451F-C752-91C9-71F6B25AF3AD}"/>
              </a:ext>
            </a:extLst>
          </p:cNvPr>
          <p:cNvSpPr/>
          <p:nvPr/>
        </p:nvSpPr>
        <p:spPr bwMode="auto">
          <a:xfrm>
            <a:off x="36380131" y="16030110"/>
            <a:ext cx="3341474" cy="878168"/>
          </a:xfrm>
          <a:prstGeom prst="roundRect">
            <a:avLst/>
          </a:prstGeom>
          <a:solidFill>
            <a:srgbClr val="DDC69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720B3051-87B3-7BD1-F37D-D3DE0A93EE4B}"/>
              </a:ext>
            </a:extLst>
          </p:cNvPr>
          <p:cNvSpPr txBox="1"/>
          <p:nvPr/>
        </p:nvSpPr>
        <p:spPr>
          <a:xfrm>
            <a:off x="36330257" y="15793156"/>
            <a:ext cx="3429896" cy="110799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Bef>
                <a:spcPct val="50000"/>
              </a:spcBef>
            </a:pPr>
            <a:endParaRPr lang="en-US" altLang="en-US" sz="2200" spc="10">
              <a:latin typeface="Arial"/>
              <a:cs typeface="Arial"/>
            </a:endParaRPr>
          </a:p>
          <a:p>
            <a:pPr algn="ctr"/>
            <a:r>
              <a:rPr lang="en-US" sz="2200" b="1">
                <a:latin typeface="Arial" panose="020B0604020202020204" pitchFamily="34" charset="0"/>
                <a:cs typeface="Arial" panose="020B0604020202020204" pitchFamily="34" charset="0"/>
              </a:rPr>
              <a:t>FILTER CUSTOMERS IN BUCKET</a:t>
            </a:r>
            <a:endParaRPr lang="en-US" sz="2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3" name="Straight Arrow Connector 202">
            <a:extLst>
              <a:ext uri="{FF2B5EF4-FFF2-40B4-BE49-F238E27FC236}">
                <a16:creationId xmlns:a16="http://schemas.microsoft.com/office/drawing/2014/main" id="{7EB6960F-95A6-10EA-FDA4-74A32A4D7630}"/>
              </a:ext>
            </a:extLst>
          </p:cNvPr>
          <p:cNvCxnSpPr>
            <a:stCxn id="192" idx="2"/>
            <a:endCxn id="131" idx="0"/>
          </p:cNvCxnSpPr>
          <p:nvPr/>
        </p:nvCxnSpPr>
        <p:spPr bwMode="auto">
          <a:xfrm flipH="1">
            <a:off x="35317430" y="18707567"/>
            <a:ext cx="2326612" cy="748292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6" name="Straight Arrow Connector 205">
            <a:extLst>
              <a:ext uri="{FF2B5EF4-FFF2-40B4-BE49-F238E27FC236}">
                <a16:creationId xmlns:a16="http://schemas.microsoft.com/office/drawing/2014/main" id="{71394D27-A287-AA7C-0085-FF188FA839B9}"/>
              </a:ext>
            </a:extLst>
          </p:cNvPr>
          <p:cNvCxnSpPr>
            <a:cxnSpLocks/>
            <a:stCxn id="192" idx="2"/>
            <a:endCxn id="134" idx="0"/>
          </p:cNvCxnSpPr>
          <p:nvPr/>
        </p:nvCxnSpPr>
        <p:spPr bwMode="auto">
          <a:xfrm>
            <a:off x="37644042" y="18707567"/>
            <a:ext cx="1140409" cy="70418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8" name="Straight Arrow Connector 207">
            <a:extLst>
              <a:ext uri="{FF2B5EF4-FFF2-40B4-BE49-F238E27FC236}">
                <a16:creationId xmlns:a16="http://schemas.microsoft.com/office/drawing/2014/main" id="{20A12150-4869-0709-72FD-01729BAD96FE}"/>
              </a:ext>
            </a:extLst>
          </p:cNvPr>
          <p:cNvCxnSpPr>
            <a:cxnSpLocks/>
            <a:stCxn id="192" idx="2"/>
          </p:cNvCxnSpPr>
          <p:nvPr/>
        </p:nvCxnSpPr>
        <p:spPr bwMode="auto">
          <a:xfrm>
            <a:off x="37644042" y="18707567"/>
            <a:ext cx="4711294" cy="69041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4" name="Rectangle 223">
            <a:extLst>
              <a:ext uri="{FF2B5EF4-FFF2-40B4-BE49-F238E27FC236}">
                <a16:creationId xmlns:a16="http://schemas.microsoft.com/office/drawing/2014/main" id="{4A5F7CFA-8EE3-50A6-C30F-B89DA6E0C459}"/>
              </a:ext>
            </a:extLst>
          </p:cNvPr>
          <p:cNvSpPr/>
          <p:nvPr/>
        </p:nvSpPr>
        <p:spPr bwMode="auto">
          <a:xfrm>
            <a:off x="34169664" y="14884352"/>
            <a:ext cx="974766" cy="449025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447A6D72-E873-EFAD-4E2C-0C66387B978C}"/>
              </a:ext>
            </a:extLst>
          </p:cNvPr>
          <p:cNvSpPr txBox="1"/>
          <p:nvPr/>
        </p:nvSpPr>
        <p:spPr>
          <a:xfrm>
            <a:off x="34173795" y="14563097"/>
            <a:ext cx="8627002" cy="7694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>
              <a:spcBef>
                <a:spcPct val="50000"/>
              </a:spcBef>
            </a:pPr>
            <a:endParaRPr lang="en-US" altLang="en-US" sz="2200" u="sng" spc="10">
              <a:latin typeface="Arial"/>
              <a:cs typeface="Arial"/>
            </a:endParaRPr>
          </a:p>
          <a:p>
            <a:r>
              <a:rPr lang="en-US" sz="2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  </a:t>
            </a:r>
            <a:r>
              <a:rPr lang="en-US" sz="2200" b="1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2200" b="1" spc="10">
                <a:latin typeface="Arial" panose="020B0604020202020204" pitchFamily="34" charset="0"/>
                <a:cs typeface="Arial" panose="020B0604020202020204" pitchFamily="34" charset="0"/>
              </a:rPr>
              <a:t>Predict When and What a Customer will Order Next</a:t>
            </a:r>
            <a:r>
              <a:rPr lang="en-US" sz="2200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2310547C-4725-6CAB-E978-5571CBF70D2A}"/>
              </a:ext>
            </a:extLst>
          </p:cNvPr>
          <p:cNvSpPr/>
          <p:nvPr/>
        </p:nvSpPr>
        <p:spPr bwMode="auto">
          <a:xfrm>
            <a:off x="34129733" y="15418501"/>
            <a:ext cx="1387460" cy="409753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DE3D0217-2A80-3C34-F04E-AFC048B74899}"/>
              </a:ext>
            </a:extLst>
          </p:cNvPr>
          <p:cNvSpPr txBox="1"/>
          <p:nvPr/>
        </p:nvSpPr>
        <p:spPr>
          <a:xfrm>
            <a:off x="34151762" y="15060144"/>
            <a:ext cx="10469748" cy="7694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>
              <a:spcBef>
                <a:spcPct val="50000"/>
              </a:spcBef>
            </a:pPr>
            <a:endParaRPr lang="en-US" altLang="en-US" sz="2200" spc="10">
              <a:latin typeface="Arial"/>
              <a:cs typeface="Arial"/>
            </a:endParaRPr>
          </a:p>
          <a:p>
            <a:r>
              <a:rPr lang="en-US" sz="2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  </a:t>
            </a:r>
            <a:r>
              <a:rPr lang="en-US" sz="2200" b="1">
                <a:latin typeface="Arial" panose="020B0604020202020204" pitchFamily="34" charset="0"/>
                <a:cs typeface="Arial" panose="020B0604020202020204" pitchFamily="34" charset="0"/>
              </a:rPr>
              <a:t>: Collaborative Filtering and K-Means Clustering </a:t>
            </a:r>
            <a:r>
              <a:rPr lang="en-US" sz="2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708" name="Picture 6" descr="Python Logo PNG Transparent &amp; SVG Vector - Freebie Supply">
            <a:extLst>
              <a:ext uri="{FF2B5EF4-FFF2-40B4-BE49-F238E27FC236}">
                <a16:creationId xmlns:a16="http://schemas.microsoft.com/office/drawing/2014/main" id="{E100984C-36C6-B990-931B-D5DC54090D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3258" y="18166991"/>
            <a:ext cx="490710" cy="488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0" name="Picture 709">
            <a:extLst>
              <a:ext uri="{FF2B5EF4-FFF2-40B4-BE49-F238E27FC236}">
                <a16:creationId xmlns:a16="http://schemas.microsoft.com/office/drawing/2014/main" id="{DC4C2CEC-CBCA-149F-37DC-EEAC03855FA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9257725" y="19068875"/>
            <a:ext cx="1715476" cy="369404"/>
          </a:xfrm>
          <a:prstGeom prst="rect">
            <a:avLst/>
          </a:prstGeom>
        </p:spPr>
      </p:pic>
      <p:sp>
        <p:nvSpPr>
          <p:cNvPr id="242" name="TextBox 241">
            <a:extLst>
              <a:ext uri="{FF2B5EF4-FFF2-40B4-BE49-F238E27FC236}">
                <a16:creationId xmlns:a16="http://schemas.microsoft.com/office/drawing/2014/main" id="{43507421-7EF3-2150-EBAD-1BD6C585E91E}"/>
              </a:ext>
            </a:extLst>
          </p:cNvPr>
          <p:cNvSpPr txBox="1"/>
          <p:nvPr/>
        </p:nvSpPr>
        <p:spPr>
          <a:xfrm>
            <a:off x="29651038" y="4498392"/>
            <a:ext cx="3753903" cy="144655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200" b="1" u="sng">
                <a:latin typeface="Arial" panose="020B0604020202020204" pitchFamily="34" charset="0"/>
                <a:cs typeface="Arial" panose="020B0604020202020204" pitchFamily="34" charset="0"/>
              </a:rPr>
              <a:t>Training Data</a:t>
            </a:r>
            <a:r>
              <a:rPr lang="en-US" sz="2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2200">
                <a:latin typeface="Arial" panose="020B0604020202020204" pitchFamily="34" charset="0"/>
                <a:cs typeface="Arial" panose="020B0604020202020204" pitchFamily="34" charset="0"/>
              </a:rPr>
              <a:t>Q1-Q3 transactions </a:t>
            </a:r>
            <a:endParaRPr lang="en-US" sz="2200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b="1" u="sng">
                <a:latin typeface="Arial" panose="020B0604020202020204" pitchFamily="34" charset="0"/>
                <a:cs typeface="Arial" panose="020B0604020202020204" pitchFamily="34" charset="0"/>
              </a:rPr>
              <a:t>Prediction Data</a:t>
            </a:r>
            <a:r>
              <a:rPr lang="en-US" sz="2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2200">
                <a:latin typeface="Arial" panose="020B0604020202020204" pitchFamily="34" charset="0"/>
                <a:cs typeface="Arial" panose="020B0604020202020204" pitchFamily="34" charset="0"/>
              </a:rPr>
              <a:t>Q4 transactions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0CF8339D-04FA-EF6F-A7F2-6593C7E0FE67}"/>
              </a:ext>
            </a:extLst>
          </p:cNvPr>
          <p:cNvSpPr txBox="1"/>
          <p:nvPr/>
        </p:nvSpPr>
        <p:spPr>
          <a:xfrm>
            <a:off x="29635121" y="6001326"/>
            <a:ext cx="3771035" cy="144655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200" b="1" u="sng">
                <a:latin typeface="Arial" panose="020B0604020202020204" pitchFamily="34" charset="0"/>
                <a:cs typeface="Arial" panose="020B0604020202020204" pitchFamily="34" charset="0"/>
              </a:rPr>
              <a:t>Improvement Areas</a:t>
            </a:r>
            <a:r>
              <a:rPr lang="en-US" sz="2200" u="sng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2200">
                <a:latin typeface="Arial" panose="020B0604020202020204" pitchFamily="34" charset="0"/>
                <a:cs typeface="Arial" panose="020B0604020202020204" pitchFamily="34" charset="0"/>
              </a:rPr>
              <a:t>- Penalize previously recommended products not ordered</a:t>
            </a:r>
          </a:p>
        </p:txBody>
      </p:sp>
      <p:sp>
        <p:nvSpPr>
          <p:cNvPr id="712" name="Rectangle 711">
            <a:extLst>
              <a:ext uri="{FF2B5EF4-FFF2-40B4-BE49-F238E27FC236}">
                <a16:creationId xmlns:a16="http://schemas.microsoft.com/office/drawing/2014/main" id="{C4066B16-44D4-B3D1-267D-2F44DBEBCDC9}"/>
              </a:ext>
            </a:extLst>
          </p:cNvPr>
          <p:cNvSpPr/>
          <p:nvPr/>
        </p:nvSpPr>
        <p:spPr bwMode="auto">
          <a:xfrm>
            <a:off x="19031270" y="18146518"/>
            <a:ext cx="702234" cy="52082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13" name="Rectangle 712">
            <a:extLst>
              <a:ext uri="{FF2B5EF4-FFF2-40B4-BE49-F238E27FC236}">
                <a16:creationId xmlns:a16="http://schemas.microsoft.com/office/drawing/2014/main" id="{27099947-7424-C892-ECF7-3AA883E9D02B}"/>
              </a:ext>
            </a:extLst>
          </p:cNvPr>
          <p:cNvSpPr/>
          <p:nvPr/>
        </p:nvSpPr>
        <p:spPr bwMode="auto">
          <a:xfrm>
            <a:off x="19233091" y="19045643"/>
            <a:ext cx="1918093" cy="39263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19" name="TextBox 718">
            <a:extLst>
              <a:ext uri="{FF2B5EF4-FFF2-40B4-BE49-F238E27FC236}">
                <a16:creationId xmlns:a16="http://schemas.microsoft.com/office/drawing/2014/main" id="{DE6529F8-89E7-0A6F-FFF9-E44717EEF6BF}"/>
              </a:ext>
            </a:extLst>
          </p:cNvPr>
          <p:cNvSpPr txBox="1"/>
          <p:nvPr/>
        </p:nvSpPr>
        <p:spPr>
          <a:xfrm>
            <a:off x="22955190" y="9563310"/>
            <a:ext cx="6581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i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</a:rPr>
              <a:t>Fig 6</a:t>
            </a:r>
            <a:r>
              <a:rPr lang="en-US" sz="2000" i="1">
                <a:latin typeface="Arial" panose="020B0604020202020204" pitchFamily="34" charset="0"/>
                <a:cs typeface="Arial" panose="020B0604020202020204" pitchFamily="34" charset="0"/>
              </a:rPr>
              <a:t>. Product prediction basket model accuracy</a:t>
            </a:r>
            <a:endParaRPr lang="en-US" sz="2000"/>
          </a:p>
        </p:txBody>
      </p:sp>
      <p:sp>
        <p:nvSpPr>
          <p:cNvPr id="720" name="TextBox 719">
            <a:extLst>
              <a:ext uri="{FF2B5EF4-FFF2-40B4-BE49-F238E27FC236}">
                <a16:creationId xmlns:a16="http://schemas.microsoft.com/office/drawing/2014/main" id="{89E5A9BB-1E0F-5642-00B8-B0DF703022CC}"/>
              </a:ext>
            </a:extLst>
          </p:cNvPr>
          <p:cNvSpPr txBox="1"/>
          <p:nvPr/>
        </p:nvSpPr>
        <p:spPr>
          <a:xfrm>
            <a:off x="23066994" y="21354645"/>
            <a:ext cx="49441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i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</a:rPr>
              <a:t>Fig 8</a:t>
            </a:r>
            <a:r>
              <a:rPr lang="en-US" sz="2000" i="1">
                <a:latin typeface="Arial" panose="020B0604020202020204" pitchFamily="34" charset="0"/>
                <a:cs typeface="Arial" panose="020B0604020202020204" pitchFamily="34" charset="0"/>
              </a:rPr>
              <a:t>. Date prediction clustering accuracy</a:t>
            </a:r>
            <a:endParaRPr lang="en-US" sz="2000"/>
          </a:p>
        </p:txBody>
      </p:sp>
      <p:sp>
        <p:nvSpPr>
          <p:cNvPr id="728" name="Rectangle 727">
            <a:extLst>
              <a:ext uri="{FF2B5EF4-FFF2-40B4-BE49-F238E27FC236}">
                <a16:creationId xmlns:a16="http://schemas.microsoft.com/office/drawing/2014/main" id="{E41BF2A1-A77A-90A2-25AB-F6178FEA9E5C}"/>
              </a:ext>
            </a:extLst>
          </p:cNvPr>
          <p:cNvSpPr/>
          <p:nvPr/>
        </p:nvSpPr>
        <p:spPr bwMode="auto">
          <a:xfrm>
            <a:off x="11654368" y="14568950"/>
            <a:ext cx="1717196" cy="667989"/>
          </a:xfrm>
          <a:prstGeom prst="rect">
            <a:avLst/>
          </a:prstGeom>
          <a:solidFill>
            <a:srgbClr val="DEC69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Product Prediction</a:t>
            </a:r>
            <a:endParaRPr kumimoji="0" lang="en-IN" sz="20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9" name="Rectangle 728">
            <a:extLst>
              <a:ext uri="{FF2B5EF4-FFF2-40B4-BE49-F238E27FC236}">
                <a16:creationId xmlns:a16="http://schemas.microsoft.com/office/drawing/2014/main" id="{112C432A-0833-E44D-FC03-7DA961198B55}"/>
              </a:ext>
            </a:extLst>
          </p:cNvPr>
          <p:cNvSpPr/>
          <p:nvPr/>
        </p:nvSpPr>
        <p:spPr bwMode="auto">
          <a:xfrm>
            <a:off x="14417448" y="11107400"/>
            <a:ext cx="2416115" cy="507570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ata Pre</a:t>
            </a:r>
            <a:r>
              <a:rPr lang="en-US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ing</a:t>
            </a:r>
            <a:endParaRPr kumimoji="0" lang="en-IN" sz="20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433" name="Picture 12" descr="Magnifying Glass Finance Images, Stock Photos &amp; Vectors | Shutterstock">
            <a:extLst>
              <a:ext uri="{FF2B5EF4-FFF2-40B4-BE49-F238E27FC236}">
                <a16:creationId xmlns:a16="http://schemas.microsoft.com/office/drawing/2014/main" id="{0B629183-1897-5227-2209-C83B12CE255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856" b="9157"/>
          <a:stretch/>
        </p:blipFill>
        <p:spPr bwMode="auto">
          <a:xfrm>
            <a:off x="12632728" y="11382995"/>
            <a:ext cx="838383" cy="830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32" name="Picture 2" descr="Raw Data Icon Stock Illustrations – 996 Raw Data Icon Stock Illustrations,  Vectors &amp; Clipart - Dreamstime">
            <a:extLst>
              <a:ext uri="{FF2B5EF4-FFF2-40B4-BE49-F238E27FC236}">
                <a16:creationId xmlns:a16="http://schemas.microsoft.com/office/drawing/2014/main" id="{CA8C5EC4-A960-617A-5E83-AE25C3FFE39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14" t="9811" r="16337" b="14760"/>
          <a:stretch/>
        </p:blipFill>
        <p:spPr bwMode="auto">
          <a:xfrm>
            <a:off x="11350824" y="11388734"/>
            <a:ext cx="604808" cy="677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429" name="Rectangle: Rounded Corners 16428">
            <a:extLst>
              <a:ext uri="{FF2B5EF4-FFF2-40B4-BE49-F238E27FC236}">
                <a16:creationId xmlns:a16="http://schemas.microsoft.com/office/drawing/2014/main" id="{2510FE87-2055-CD00-CA73-AFC577DE8E11}"/>
              </a:ext>
            </a:extLst>
          </p:cNvPr>
          <p:cNvSpPr/>
          <p:nvPr/>
        </p:nvSpPr>
        <p:spPr>
          <a:xfrm>
            <a:off x="11288677" y="11067153"/>
            <a:ext cx="2301180" cy="136780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6430" name="TextBox 16429">
            <a:extLst>
              <a:ext uri="{FF2B5EF4-FFF2-40B4-BE49-F238E27FC236}">
                <a16:creationId xmlns:a16="http://schemas.microsoft.com/office/drawing/2014/main" id="{E22BD821-73E1-F86B-5F13-58774829D08C}"/>
              </a:ext>
            </a:extLst>
          </p:cNvPr>
          <p:cNvSpPr txBox="1"/>
          <p:nvPr/>
        </p:nvSpPr>
        <p:spPr>
          <a:xfrm>
            <a:off x="11353476" y="12008149"/>
            <a:ext cx="15772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</a:rPr>
              <a:t>Raw</a:t>
            </a:r>
            <a:r>
              <a:rPr lang="zh-CN" altLang="en-US" sz="20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2000"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31" name="TextBox 16430">
            <a:extLst>
              <a:ext uri="{FF2B5EF4-FFF2-40B4-BE49-F238E27FC236}">
                <a16:creationId xmlns:a16="http://schemas.microsoft.com/office/drawing/2014/main" id="{B7F7322F-36BF-3AF8-2E4C-9A353E27D36B}"/>
              </a:ext>
            </a:extLst>
          </p:cNvPr>
          <p:cNvSpPr txBox="1"/>
          <p:nvPr/>
        </p:nvSpPr>
        <p:spPr>
          <a:xfrm>
            <a:off x="12626759" y="12011937"/>
            <a:ext cx="9969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</a:rPr>
              <a:t>EDA</a:t>
            </a:r>
          </a:p>
        </p:txBody>
      </p:sp>
      <p:sp>
        <p:nvSpPr>
          <p:cNvPr id="16426" name="Rectangle 16425">
            <a:extLst>
              <a:ext uri="{FF2B5EF4-FFF2-40B4-BE49-F238E27FC236}">
                <a16:creationId xmlns:a16="http://schemas.microsoft.com/office/drawing/2014/main" id="{4BD78DC9-7F4F-02DE-95C3-6371F07360E7}"/>
              </a:ext>
            </a:extLst>
          </p:cNvPr>
          <p:cNvSpPr/>
          <p:nvPr/>
        </p:nvSpPr>
        <p:spPr bwMode="auto">
          <a:xfrm>
            <a:off x="12005138" y="11164369"/>
            <a:ext cx="743670" cy="330594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endParaRPr kumimoji="0" lang="en-IN" sz="20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33" name="Picture 8" descr="Dataset Icons - Free SVG &amp; PNG Dataset Images - Noun Project">
            <a:extLst>
              <a:ext uri="{FF2B5EF4-FFF2-40B4-BE49-F238E27FC236}">
                <a16:creationId xmlns:a16="http://schemas.microsoft.com/office/drawing/2014/main" id="{ECBD3A4C-A303-F097-A0EA-4869050A2A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94241" y="11640409"/>
            <a:ext cx="425106" cy="509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4" name="TextBox 733">
            <a:extLst>
              <a:ext uri="{FF2B5EF4-FFF2-40B4-BE49-F238E27FC236}">
                <a16:creationId xmlns:a16="http://schemas.microsoft.com/office/drawing/2014/main" id="{BB900E46-3BDA-6F5A-5DA5-2D7B34681641}"/>
              </a:ext>
            </a:extLst>
          </p:cNvPr>
          <p:cNvSpPr txBox="1"/>
          <p:nvPr/>
        </p:nvSpPr>
        <p:spPr>
          <a:xfrm>
            <a:off x="16584514" y="12077050"/>
            <a:ext cx="761744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00">
                <a:latin typeface="Arial" panose="020B0604020202020204" pitchFamily="34" charset="0"/>
                <a:cs typeface="Arial" panose="020B0604020202020204" pitchFamily="34" charset="0"/>
              </a:rPr>
              <a:t>Test Data</a:t>
            </a:r>
          </a:p>
        </p:txBody>
      </p:sp>
      <p:sp>
        <p:nvSpPr>
          <p:cNvPr id="735" name="TextBox 734">
            <a:extLst>
              <a:ext uri="{FF2B5EF4-FFF2-40B4-BE49-F238E27FC236}">
                <a16:creationId xmlns:a16="http://schemas.microsoft.com/office/drawing/2014/main" id="{F1A5BD1A-5C84-A620-9E27-C4487BDCA00A}"/>
              </a:ext>
            </a:extLst>
          </p:cNvPr>
          <p:cNvSpPr txBox="1"/>
          <p:nvPr/>
        </p:nvSpPr>
        <p:spPr>
          <a:xfrm>
            <a:off x="14972075" y="12058711"/>
            <a:ext cx="122348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900">
                <a:latin typeface="Arial" panose="020B0604020202020204" pitchFamily="34" charset="0"/>
                <a:cs typeface="Arial" panose="020B0604020202020204" pitchFamily="34" charset="0"/>
              </a:rPr>
              <a:t>Data Partition</a:t>
            </a:r>
          </a:p>
        </p:txBody>
      </p:sp>
      <p:pic>
        <p:nvPicPr>
          <p:cNvPr id="736" name="Picture 8" descr="Dataset Icons - Free SVG &amp; PNG Dataset Images - Noun Project">
            <a:extLst>
              <a:ext uri="{FF2B5EF4-FFF2-40B4-BE49-F238E27FC236}">
                <a16:creationId xmlns:a16="http://schemas.microsoft.com/office/drawing/2014/main" id="{DF3A6A2D-0D21-1C9D-638E-B880CCF7B3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49108" y="11632668"/>
            <a:ext cx="425106" cy="509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7" name="TextBox 736">
            <a:extLst>
              <a:ext uri="{FF2B5EF4-FFF2-40B4-BE49-F238E27FC236}">
                <a16:creationId xmlns:a16="http://schemas.microsoft.com/office/drawing/2014/main" id="{35AFEBFD-83D9-2657-40A1-3FA5F8996C47}"/>
              </a:ext>
            </a:extLst>
          </p:cNvPr>
          <p:cNvSpPr txBox="1"/>
          <p:nvPr/>
        </p:nvSpPr>
        <p:spPr>
          <a:xfrm>
            <a:off x="13779650" y="12051951"/>
            <a:ext cx="114563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900">
                <a:latin typeface="Arial" panose="020B0604020202020204" pitchFamily="34" charset="0"/>
                <a:cs typeface="Arial" panose="020B0604020202020204" pitchFamily="34" charset="0"/>
              </a:rPr>
              <a:t>Training Data</a:t>
            </a:r>
          </a:p>
        </p:txBody>
      </p:sp>
      <p:pic>
        <p:nvPicPr>
          <p:cNvPr id="738" name="Picture 737" descr="Free Icon | Database">
            <a:extLst>
              <a:ext uri="{FF2B5EF4-FFF2-40B4-BE49-F238E27FC236}">
                <a16:creationId xmlns:a16="http://schemas.microsoft.com/office/drawing/2014/main" id="{3CCE523F-3B20-9E00-0049-7467407A36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98443" y="11689738"/>
            <a:ext cx="371569" cy="44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39" name="Straight Arrow Connector 738">
            <a:extLst>
              <a:ext uri="{FF2B5EF4-FFF2-40B4-BE49-F238E27FC236}">
                <a16:creationId xmlns:a16="http://schemas.microsoft.com/office/drawing/2014/main" id="{55957FBB-B26E-BC48-1DCD-6FBCB2B2265A}"/>
              </a:ext>
            </a:extLst>
          </p:cNvPr>
          <p:cNvCxnSpPr>
            <a:cxnSpLocks/>
          </p:cNvCxnSpPr>
          <p:nvPr/>
        </p:nvCxnSpPr>
        <p:spPr bwMode="auto">
          <a:xfrm flipH="1">
            <a:off x="14699548" y="11948526"/>
            <a:ext cx="435579" cy="791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0" name="Straight Arrow Connector 739">
            <a:extLst>
              <a:ext uri="{FF2B5EF4-FFF2-40B4-BE49-F238E27FC236}">
                <a16:creationId xmlns:a16="http://schemas.microsoft.com/office/drawing/2014/main" id="{A4DFE726-1024-4044-B9F7-8B3E33A392F6}"/>
              </a:ext>
            </a:extLst>
          </p:cNvPr>
          <p:cNvCxnSpPr>
            <a:cxnSpLocks/>
          </p:cNvCxnSpPr>
          <p:nvPr/>
        </p:nvCxnSpPr>
        <p:spPr bwMode="auto">
          <a:xfrm flipV="1">
            <a:off x="15815791" y="11938819"/>
            <a:ext cx="438570" cy="73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41" name="Arrow: Right 740">
            <a:extLst>
              <a:ext uri="{FF2B5EF4-FFF2-40B4-BE49-F238E27FC236}">
                <a16:creationId xmlns:a16="http://schemas.microsoft.com/office/drawing/2014/main" id="{70823F1D-142A-987E-035D-1CC052716CDF}"/>
              </a:ext>
            </a:extLst>
          </p:cNvPr>
          <p:cNvSpPr/>
          <p:nvPr/>
        </p:nvSpPr>
        <p:spPr bwMode="auto">
          <a:xfrm>
            <a:off x="13592889" y="11636930"/>
            <a:ext cx="325990" cy="168221"/>
          </a:xfrm>
          <a:prstGeom prst="rightArrow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F740283-7A26-610D-70C4-B4E3818A14D9}"/>
              </a:ext>
            </a:extLst>
          </p:cNvPr>
          <p:cNvGrpSpPr/>
          <p:nvPr/>
        </p:nvGrpSpPr>
        <p:grpSpPr>
          <a:xfrm>
            <a:off x="13862022" y="17528081"/>
            <a:ext cx="3717888" cy="2932765"/>
            <a:chOff x="13836634" y="13586105"/>
            <a:chExt cx="3717888" cy="2454444"/>
          </a:xfrm>
        </p:grpSpPr>
        <p:sp>
          <p:nvSpPr>
            <p:cNvPr id="16423" name="Rectangle: Rounded Corners 16422">
              <a:extLst>
                <a:ext uri="{FF2B5EF4-FFF2-40B4-BE49-F238E27FC236}">
                  <a16:creationId xmlns:a16="http://schemas.microsoft.com/office/drawing/2014/main" id="{1776D07D-2F99-1DFE-BBB5-9AE2772ED91B}"/>
                </a:ext>
              </a:extLst>
            </p:cNvPr>
            <p:cNvSpPr/>
            <p:nvPr/>
          </p:nvSpPr>
          <p:spPr>
            <a:xfrm>
              <a:off x="13836634" y="13586105"/>
              <a:ext cx="3505895" cy="2317601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rgbClr val="C28E0E"/>
                </a:solidFill>
              </a:endParaRPr>
            </a:p>
          </p:txBody>
        </p:sp>
        <p:sp>
          <p:nvSpPr>
            <p:cNvPr id="16424" name="TextBox 16423">
              <a:extLst>
                <a:ext uri="{FF2B5EF4-FFF2-40B4-BE49-F238E27FC236}">
                  <a16:creationId xmlns:a16="http://schemas.microsoft.com/office/drawing/2014/main" id="{EAD221E1-A9E5-83C5-5BA0-6766912B68D6}"/>
                </a:ext>
              </a:extLst>
            </p:cNvPr>
            <p:cNvSpPr txBox="1"/>
            <p:nvPr/>
          </p:nvSpPr>
          <p:spPr>
            <a:xfrm>
              <a:off x="14766224" y="13593543"/>
              <a:ext cx="2788298" cy="244700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en-US" sz="2000" b="1" dirty="0">
                  <a:latin typeface="Arial"/>
                  <a:cs typeface="Arial"/>
                </a:rPr>
                <a:t>Create independent variables</a:t>
              </a:r>
            </a:p>
            <a:p>
              <a:r>
                <a:rPr lang="en-US" sz="1800" dirty="0">
                  <a:latin typeface="Arial"/>
                  <a:cs typeface="Arial"/>
                </a:rPr>
                <a:t> - Recency</a:t>
              </a:r>
            </a:p>
            <a:p>
              <a:r>
                <a:rPr lang="en-US" sz="1800" dirty="0">
                  <a:latin typeface="Arial"/>
                  <a:cs typeface="Arial"/>
                </a:rPr>
                <a:t> - Frequency</a:t>
              </a:r>
            </a:p>
            <a:p>
              <a:r>
                <a:rPr lang="en-US" sz="1800" dirty="0">
                  <a:latin typeface="Arial"/>
                  <a:cs typeface="Arial"/>
                </a:rPr>
                <a:t> - Monetary</a:t>
              </a:r>
            </a:p>
            <a:p>
              <a:r>
                <a:rPr lang="en-US" sz="1800" dirty="0">
                  <a:latin typeface="Arial"/>
                  <a:cs typeface="Arial"/>
                </a:rPr>
                <a:t> - Date difference in purchases</a:t>
              </a:r>
            </a:p>
            <a:p>
              <a:r>
                <a:rPr lang="en-US" sz="1800" dirty="0">
                  <a:latin typeface="Arial"/>
                  <a:cs typeface="Arial"/>
                </a:rPr>
                <a:t> - Mean and standard deviation of Date difference</a:t>
              </a:r>
            </a:p>
          </p:txBody>
        </p:sp>
        <p:pic>
          <p:nvPicPr>
            <p:cNvPr id="16425" name="Picture 2" descr="Programming Variable Icon | iOS 7 Iconset | Icons8">
              <a:extLst>
                <a:ext uri="{FF2B5EF4-FFF2-40B4-BE49-F238E27FC236}">
                  <a16:creationId xmlns:a16="http://schemas.microsoft.com/office/drawing/2014/main" id="{2A75126F-8608-3DEE-1084-3C0F15B8E3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43946" y="14187243"/>
              <a:ext cx="867058" cy="9194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57E4877-CE0B-F9A6-18C0-E08C11D29429}"/>
              </a:ext>
            </a:extLst>
          </p:cNvPr>
          <p:cNvGrpSpPr/>
          <p:nvPr/>
        </p:nvGrpSpPr>
        <p:grpSpPr>
          <a:xfrm>
            <a:off x="14004819" y="14390355"/>
            <a:ext cx="3210907" cy="1377560"/>
            <a:chOff x="13980458" y="18476101"/>
            <a:chExt cx="3210907" cy="1377560"/>
          </a:xfrm>
        </p:grpSpPr>
        <p:sp>
          <p:nvSpPr>
            <p:cNvPr id="16419" name="TextBox 16418">
              <a:extLst>
                <a:ext uri="{FF2B5EF4-FFF2-40B4-BE49-F238E27FC236}">
                  <a16:creationId xmlns:a16="http://schemas.microsoft.com/office/drawing/2014/main" id="{72AA3299-0964-9A6E-01BD-B84144351B85}"/>
                </a:ext>
              </a:extLst>
            </p:cNvPr>
            <p:cNvSpPr txBox="1"/>
            <p:nvPr/>
          </p:nvSpPr>
          <p:spPr>
            <a:xfrm>
              <a:off x="14608152" y="18675202"/>
              <a:ext cx="2583213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>
                  <a:latin typeface="Arial" panose="020B0604020202020204" pitchFamily="34" charset="0"/>
                  <a:cs typeface="Arial" panose="020B0604020202020204" pitchFamily="34" charset="0"/>
                </a:rPr>
                <a:t>Calculate product inclusion rate for each customer</a:t>
              </a:r>
            </a:p>
          </p:txBody>
        </p:sp>
        <p:pic>
          <p:nvPicPr>
            <p:cNvPr id="16421" name="Graphic 16420" descr="Calculator with solid fill">
              <a:extLst>
                <a:ext uri="{FF2B5EF4-FFF2-40B4-BE49-F238E27FC236}">
                  <a16:creationId xmlns:a16="http://schemas.microsoft.com/office/drawing/2014/main" id="{BD7D024F-72F6-DFA3-5CD0-F22504AF2D4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13980458" y="18807944"/>
              <a:ext cx="806539" cy="843189"/>
            </a:xfrm>
            <a:prstGeom prst="rect">
              <a:avLst/>
            </a:prstGeom>
          </p:spPr>
        </p:pic>
        <p:sp>
          <p:nvSpPr>
            <p:cNvPr id="16422" name="Rectangle: Rounded Corners 16421">
              <a:extLst>
                <a:ext uri="{FF2B5EF4-FFF2-40B4-BE49-F238E27FC236}">
                  <a16:creationId xmlns:a16="http://schemas.microsoft.com/office/drawing/2014/main" id="{78FF00CF-7180-CF3F-52A0-3C157FECE47C}"/>
                </a:ext>
              </a:extLst>
            </p:cNvPr>
            <p:cNvSpPr/>
            <p:nvPr/>
          </p:nvSpPr>
          <p:spPr>
            <a:xfrm>
              <a:off x="14032549" y="18476101"/>
              <a:ext cx="3117118" cy="137756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</p:grpSp>
      <p:sp>
        <p:nvSpPr>
          <p:cNvPr id="744" name="Arrow: Down 743">
            <a:extLst>
              <a:ext uri="{FF2B5EF4-FFF2-40B4-BE49-F238E27FC236}">
                <a16:creationId xmlns:a16="http://schemas.microsoft.com/office/drawing/2014/main" id="{A01AB114-687B-8B49-F1D2-D39353D8D3A4}"/>
              </a:ext>
            </a:extLst>
          </p:cNvPr>
          <p:cNvSpPr/>
          <p:nvPr/>
        </p:nvSpPr>
        <p:spPr bwMode="auto">
          <a:xfrm rot="16200000">
            <a:off x="17647270" y="11609501"/>
            <a:ext cx="184832" cy="368895"/>
          </a:xfrm>
          <a:prstGeom prst="downArrow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45" name="TextBox 744">
            <a:extLst>
              <a:ext uri="{FF2B5EF4-FFF2-40B4-BE49-F238E27FC236}">
                <a16:creationId xmlns:a16="http://schemas.microsoft.com/office/drawing/2014/main" id="{6E4D4F61-9FE0-F7D5-D7D3-651B8C0E06EF}"/>
              </a:ext>
            </a:extLst>
          </p:cNvPr>
          <p:cNvSpPr txBox="1"/>
          <p:nvPr/>
        </p:nvSpPr>
        <p:spPr>
          <a:xfrm>
            <a:off x="17988727" y="12078160"/>
            <a:ext cx="135823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Data Cleaning</a:t>
            </a:r>
          </a:p>
        </p:txBody>
      </p:sp>
      <p:pic>
        <p:nvPicPr>
          <p:cNvPr id="746" name="Picture 6" descr="Cleaning, data, data cleaning, data cleansing, data validation ...">
            <a:extLst>
              <a:ext uri="{FF2B5EF4-FFF2-40B4-BE49-F238E27FC236}">
                <a16:creationId xmlns:a16="http://schemas.microsoft.com/office/drawing/2014/main" id="{CBB7DEE8-D380-9D5B-5C5D-5C49E716B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78759" y="11581463"/>
            <a:ext cx="576736" cy="562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7" name="TextBox 746">
            <a:extLst>
              <a:ext uri="{FF2B5EF4-FFF2-40B4-BE49-F238E27FC236}">
                <a16:creationId xmlns:a16="http://schemas.microsoft.com/office/drawing/2014/main" id="{FF8AC993-AF94-5D3E-3E85-A2A0DB87A726}"/>
              </a:ext>
            </a:extLst>
          </p:cNvPr>
          <p:cNvSpPr txBox="1"/>
          <p:nvPr/>
        </p:nvSpPr>
        <p:spPr>
          <a:xfrm>
            <a:off x="19153081" y="12186166"/>
            <a:ext cx="12520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</a:rPr>
              <a:t>Modeling</a:t>
            </a:r>
          </a:p>
        </p:txBody>
      </p:sp>
      <p:pic>
        <p:nvPicPr>
          <p:cNvPr id="748" name="Picture 10" descr="Neural Networks From Scratch - victorzhou.com">
            <a:extLst>
              <a:ext uri="{FF2B5EF4-FFF2-40B4-BE49-F238E27FC236}">
                <a16:creationId xmlns:a16="http://schemas.microsoft.com/office/drawing/2014/main" id="{DEF2BCC9-07EE-978B-9A2F-0AD7569E11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36205" y="11590969"/>
            <a:ext cx="883314" cy="589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9" name="TextBox 748">
            <a:extLst>
              <a:ext uri="{FF2B5EF4-FFF2-40B4-BE49-F238E27FC236}">
                <a16:creationId xmlns:a16="http://schemas.microsoft.com/office/drawing/2014/main" id="{00E416AB-40E3-150B-37F0-9A75ABB1CD3E}"/>
              </a:ext>
            </a:extLst>
          </p:cNvPr>
          <p:cNvSpPr txBox="1"/>
          <p:nvPr/>
        </p:nvSpPr>
        <p:spPr>
          <a:xfrm>
            <a:off x="20126333" y="12079351"/>
            <a:ext cx="170926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</a:rPr>
              <a:t>Model </a:t>
            </a:r>
          </a:p>
          <a:p>
            <a:pPr algn="ctr"/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</a:rPr>
              <a:t>Comparison</a:t>
            </a:r>
          </a:p>
        </p:txBody>
      </p:sp>
      <p:pic>
        <p:nvPicPr>
          <p:cNvPr id="750" name="Picture 4" descr="Analysis, business, comparison, seo, statistics icon">
            <a:extLst>
              <a:ext uri="{FF2B5EF4-FFF2-40B4-BE49-F238E27FC236}">
                <a16:creationId xmlns:a16="http://schemas.microsoft.com/office/drawing/2014/main" id="{152399FC-4052-75DD-CC98-C1FD0A1D60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88154" y="11586094"/>
            <a:ext cx="537298" cy="628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2" name="Rectangle 751">
            <a:extLst>
              <a:ext uri="{FF2B5EF4-FFF2-40B4-BE49-F238E27FC236}">
                <a16:creationId xmlns:a16="http://schemas.microsoft.com/office/drawing/2014/main" id="{6D37C1DC-F3F0-473B-D185-146BEE16E039}"/>
              </a:ext>
            </a:extLst>
          </p:cNvPr>
          <p:cNvSpPr/>
          <p:nvPr/>
        </p:nvSpPr>
        <p:spPr bwMode="auto">
          <a:xfrm>
            <a:off x="19062184" y="11118280"/>
            <a:ext cx="1279396" cy="381517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odeling</a:t>
            </a:r>
            <a:endParaRPr kumimoji="0" lang="en-IN" sz="20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03" name="Rectangle: Rounded Corners 16402">
            <a:extLst>
              <a:ext uri="{FF2B5EF4-FFF2-40B4-BE49-F238E27FC236}">
                <a16:creationId xmlns:a16="http://schemas.microsoft.com/office/drawing/2014/main" id="{CE82F7A6-8869-804D-50C9-A3D84C311B8E}"/>
              </a:ext>
            </a:extLst>
          </p:cNvPr>
          <p:cNvSpPr/>
          <p:nvPr/>
        </p:nvSpPr>
        <p:spPr>
          <a:xfrm>
            <a:off x="17920515" y="17557991"/>
            <a:ext cx="3613809" cy="1603717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rgbClr val="C28E0E"/>
              </a:solidFill>
            </a:endParaRPr>
          </a:p>
        </p:txBody>
      </p:sp>
      <p:sp>
        <p:nvSpPr>
          <p:cNvPr id="16404" name="TextBox 16403">
            <a:extLst>
              <a:ext uri="{FF2B5EF4-FFF2-40B4-BE49-F238E27FC236}">
                <a16:creationId xmlns:a16="http://schemas.microsoft.com/office/drawing/2014/main" id="{42868C93-C53A-A622-2A17-343075BD9DD4}"/>
              </a:ext>
            </a:extLst>
          </p:cNvPr>
          <p:cNvSpPr txBox="1"/>
          <p:nvPr/>
        </p:nvSpPr>
        <p:spPr>
          <a:xfrm>
            <a:off x="18441198" y="17570997"/>
            <a:ext cx="29185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K-means to formulate clusters</a:t>
            </a:r>
          </a:p>
        </p:txBody>
      </p:sp>
      <p:sp>
        <p:nvSpPr>
          <p:cNvPr id="16405" name="Rectangle: Rounded Corners 16404">
            <a:extLst>
              <a:ext uri="{FF2B5EF4-FFF2-40B4-BE49-F238E27FC236}">
                <a16:creationId xmlns:a16="http://schemas.microsoft.com/office/drawing/2014/main" id="{06E8A51D-D0D6-9E08-D826-F0DBE3872824}"/>
              </a:ext>
            </a:extLst>
          </p:cNvPr>
          <p:cNvSpPr/>
          <p:nvPr/>
        </p:nvSpPr>
        <p:spPr>
          <a:xfrm>
            <a:off x="18510430" y="18268821"/>
            <a:ext cx="844820" cy="582014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6406" name="TextBox 16405">
            <a:extLst>
              <a:ext uri="{FF2B5EF4-FFF2-40B4-BE49-F238E27FC236}">
                <a16:creationId xmlns:a16="http://schemas.microsoft.com/office/drawing/2014/main" id="{109FF069-46E2-61D0-631D-2E2DA2A2F745}"/>
              </a:ext>
            </a:extLst>
          </p:cNvPr>
          <p:cNvSpPr txBox="1"/>
          <p:nvPr/>
        </p:nvSpPr>
        <p:spPr>
          <a:xfrm>
            <a:off x="18645756" y="18238168"/>
            <a:ext cx="7635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</a:rPr>
              <a:t>&lt;20Days</a:t>
            </a:r>
          </a:p>
        </p:txBody>
      </p:sp>
      <p:sp>
        <p:nvSpPr>
          <p:cNvPr id="16407" name="Rectangle: Rounded Corners 16406">
            <a:extLst>
              <a:ext uri="{FF2B5EF4-FFF2-40B4-BE49-F238E27FC236}">
                <a16:creationId xmlns:a16="http://schemas.microsoft.com/office/drawing/2014/main" id="{48BFD7A8-E4EC-82BC-2A5A-82D76A3ADBA2}"/>
              </a:ext>
            </a:extLst>
          </p:cNvPr>
          <p:cNvSpPr/>
          <p:nvPr/>
        </p:nvSpPr>
        <p:spPr>
          <a:xfrm>
            <a:off x="19466931" y="18256436"/>
            <a:ext cx="933253" cy="594037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6408" name="TextBox 16407">
            <a:extLst>
              <a:ext uri="{FF2B5EF4-FFF2-40B4-BE49-F238E27FC236}">
                <a16:creationId xmlns:a16="http://schemas.microsoft.com/office/drawing/2014/main" id="{3F946D4E-B3EA-1E1B-2FB2-3DA3578B5967}"/>
              </a:ext>
            </a:extLst>
          </p:cNvPr>
          <p:cNvSpPr txBox="1"/>
          <p:nvPr/>
        </p:nvSpPr>
        <p:spPr>
          <a:xfrm>
            <a:off x="19487593" y="18253508"/>
            <a:ext cx="897365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000">
                <a:latin typeface="Arial"/>
                <a:cs typeface="Arial"/>
              </a:rPr>
              <a:t>20-50 Days</a:t>
            </a:r>
          </a:p>
        </p:txBody>
      </p:sp>
      <p:sp>
        <p:nvSpPr>
          <p:cNvPr id="16409" name="Rectangle: Rounded Corners 16408">
            <a:extLst>
              <a:ext uri="{FF2B5EF4-FFF2-40B4-BE49-F238E27FC236}">
                <a16:creationId xmlns:a16="http://schemas.microsoft.com/office/drawing/2014/main" id="{C7859EF4-D1C9-8B43-18D0-4BDEDD337CAE}"/>
              </a:ext>
            </a:extLst>
          </p:cNvPr>
          <p:cNvSpPr/>
          <p:nvPr/>
        </p:nvSpPr>
        <p:spPr>
          <a:xfrm>
            <a:off x="20508140" y="18244158"/>
            <a:ext cx="933253" cy="589954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6410" name="TextBox 16409">
            <a:extLst>
              <a:ext uri="{FF2B5EF4-FFF2-40B4-BE49-F238E27FC236}">
                <a16:creationId xmlns:a16="http://schemas.microsoft.com/office/drawing/2014/main" id="{AE014916-D8DF-3E9C-D160-DE0162BAF97F}"/>
              </a:ext>
            </a:extLst>
          </p:cNvPr>
          <p:cNvSpPr txBox="1"/>
          <p:nvPr/>
        </p:nvSpPr>
        <p:spPr>
          <a:xfrm>
            <a:off x="20539054" y="18204919"/>
            <a:ext cx="897365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000">
                <a:latin typeface="Arial"/>
                <a:cs typeface="Arial"/>
              </a:rPr>
              <a:t>&gt;50 Days</a:t>
            </a:r>
          </a:p>
        </p:txBody>
      </p:sp>
      <p:sp>
        <p:nvSpPr>
          <p:cNvPr id="16411" name="Rectangle: Rounded Corners 16410">
            <a:extLst>
              <a:ext uri="{FF2B5EF4-FFF2-40B4-BE49-F238E27FC236}">
                <a16:creationId xmlns:a16="http://schemas.microsoft.com/office/drawing/2014/main" id="{10135D13-B24B-7FA0-51F8-96CC746FCC8A}"/>
              </a:ext>
            </a:extLst>
          </p:cNvPr>
          <p:cNvSpPr/>
          <p:nvPr/>
        </p:nvSpPr>
        <p:spPr>
          <a:xfrm>
            <a:off x="17951444" y="19371477"/>
            <a:ext cx="3605484" cy="1150409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6412" name="TextBox 16411">
            <a:extLst>
              <a:ext uri="{FF2B5EF4-FFF2-40B4-BE49-F238E27FC236}">
                <a16:creationId xmlns:a16="http://schemas.microsoft.com/office/drawing/2014/main" id="{55FF667E-0629-52EC-FC14-DAC00AF2A8CD}"/>
              </a:ext>
            </a:extLst>
          </p:cNvPr>
          <p:cNvSpPr txBox="1"/>
          <p:nvPr/>
        </p:nvSpPr>
        <p:spPr>
          <a:xfrm>
            <a:off x="18427075" y="19371478"/>
            <a:ext cx="29185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Classification Model</a:t>
            </a:r>
          </a:p>
        </p:txBody>
      </p:sp>
      <p:sp>
        <p:nvSpPr>
          <p:cNvPr id="16413" name="Rectangle: Rounded Corners 16412">
            <a:extLst>
              <a:ext uri="{FF2B5EF4-FFF2-40B4-BE49-F238E27FC236}">
                <a16:creationId xmlns:a16="http://schemas.microsoft.com/office/drawing/2014/main" id="{9A52D4D9-7C84-BC14-4F95-AE4BE7B74803}"/>
              </a:ext>
            </a:extLst>
          </p:cNvPr>
          <p:cNvSpPr/>
          <p:nvPr/>
        </p:nvSpPr>
        <p:spPr>
          <a:xfrm>
            <a:off x="18807843" y="19973899"/>
            <a:ext cx="819781" cy="405694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6414" name="TextBox 16413">
            <a:extLst>
              <a:ext uri="{FF2B5EF4-FFF2-40B4-BE49-F238E27FC236}">
                <a16:creationId xmlns:a16="http://schemas.microsoft.com/office/drawing/2014/main" id="{A424D45E-59AA-2EC9-915E-9BC6AAF73EBC}"/>
              </a:ext>
            </a:extLst>
          </p:cNvPr>
          <p:cNvSpPr txBox="1"/>
          <p:nvPr/>
        </p:nvSpPr>
        <p:spPr>
          <a:xfrm>
            <a:off x="18852296" y="19969442"/>
            <a:ext cx="746448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000">
                <a:latin typeface="Arial"/>
                <a:cs typeface="Arial"/>
              </a:rPr>
              <a:t>RFC</a:t>
            </a:r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15" name="Rectangle: Rounded Corners 16414">
            <a:extLst>
              <a:ext uri="{FF2B5EF4-FFF2-40B4-BE49-F238E27FC236}">
                <a16:creationId xmlns:a16="http://schemas.microsoft.com/office/drawing/2014/main" id="{A718C1FA-694B-113F-D0FC-93A33E8D3A31}"/>
              </a:ext>
            </a:extLst>
          </p:cNvPr>
          <p:cNvSpPr/>
          <p:nvPr/>
        </p:nvSpPr>
        <p:spPr>
          <a:xfrm>
            <a:off x="20047248" y="19974754"/>
            <a:ext cx="1312458" cy="396397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6416" name="TextBox 16415">
            <a:extLst>
              <a:ext uri="{FF2B5EF4-FFF2-40B4-BE49-F238E27FC236}">
                <a16:creationId xmlns:a16="http://schemas.microsoft.com/office/drawing/2014/main" id="{FAE1AA0A-0CD0-D72E-938C-8BC95995B965}"/>
              </a:ext>
            </a:extLst>
          </p:cNvPr>
          <p:cNvSpPr txBox="1"/>
          <p:nvPr/>
        </p:nvSpPr>
        <p:spPr>
          <a:xfrm>
            <a:off x="19932825" y="19964461"/>
            <a:ext cx="15577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</a:rPr>
              <a:t>XGBOOST</a:t>
            </a:r>
          </a:p>
        </p:txBody>
      </p:sp>
      <p:pic>
        <p:nvPicPr>
          <p:cNvPr id="16417" name="Picture 6" descr="K-Means Icon - Free PNG &amp; SVG 961658 - Noun Project">
            <a:extLst>
              <a:ext uri="{FF2B5EF4-FFF2-40B4-BE49-F238E27FC236}">
                <a16:creationId xmlns:a16="http://schemas.microsoft.com/office/drawing/2014/main" id="{187F3A55-C51F-48C5-EABF-1B9106BF14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00459" y="17906626"/>
            <a:ext cx="591476" cy="618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18" name="Picture 12" descr="Data Cleansing - Sourcific Consulting">
            <a:extLst>
              <a:ext uri="{FF2B5EF4-FFF2-40B4-BE49-F238E27FC236}">
                <a16:creationId xmlns:a16="http://schemas.microsoft.com/office/drawing/2014/main" id="{C5ED0C53-60C4-F476-D2CC-2EFFC9CD02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03318" y="19598178"/>
            <a:ext cx="569633" cy="648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6" name="Rectangle: Rounded Corners 755">
            <a:extLst>
              <a:ext uri="{FF2B5EF4-FFF2-40B4-BE49-F238E27FC236}">
                <a16:creationId xmlns:a16="http://schemas.microsoft.com/office/drawing/2014/main" id="{4737C8E1-32F1-BA04-D371-AB4CEE14A55A}"/>
              </a:ext>
            </a:extLst>
          </p:cNvPr>
          <p:cNvSpPr/>
          <p:nvPr/>
        </p:nvSpPr>
        <p:spPr>
          <a:xfrm>
            <a:off x="17840124" y="15805576"/>
            <a:ext cx="3619870" cy="1306057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767" name="TextBox 766">
            <a:extLst>
              <a:ext uri="{FF2B5EF4-FFF2-40B4-BE49-F238E27FC236}">
                <a16:creationId xmlns:a16="http://schemas.microsoft.com/office/drawing/2014/main" id="{CEE56D21-548A-5724-7303-2F00CD8F2517}"/>
              </a:ext>
            </a:extLst>
          </p:cNvPr>
          <p:cNvSpPr txBox="1"/>
          <p:nvPr/>
        </p:nvSpPr>
        <p:spPr>
          <a:xfrm>
            <a:off x="17938659" y="12930667"/>
            <a:ext cx="363062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</a:rPr>
              <a:t>Hybrid model generates predicted inclusion rates for unordered products</a:t>
            </a:r>
          </a:p>
        </p:txBody>
      </p:sp>
      <p:sp>
        <p:nvSpPr>
          <p:cNvPr id="16389" name="Rectangle: Rounded Corners 16388">
            <a:extLst>
              <a:ext uri="{FF2B5EF4-FFF2-40B4-BE49-F238E27FC236}">
                <a16:creationId xmlns:a16="http://schemas.microsoft.com/office/drawing/2014/main" id="{828C4F09-D1FA-FB1C-2C00-99B87A1646F2}"/>
              </a:ext>
            </a:extLst>
          </p:cNvPr>
          <p:cNvSpPr/>
          <p:nvPr/>
        </p:nvSpPr>
        <p:spPr>
          <a:xfrm>
            <a:off x="17781071" y="12912446"/>
            <a:ext cx="3726235" cy="2759171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6393" name="Rectangle: Rounded Corners 16392">
            <a:extLst>
              <a:ext uri="{FF2B5EF4-FFF2-40B4-BE49-F238E27FC236}">
                <a16:creationId xmlns:a16="http://schemas.microsoft.com/office/drawing/2014/main" id="{2E762F17-A3E4-5E3B-82CC-3E4D782815D7}"/>
              </a:ext>
            </a:extLst>
          </p:cNvPr>
          <p:cNvSpPr/>
          <p:nvPr/>
        </p:nvSpPr>
        <p:spPr>
          <a:xfrm>
            <a:off x="17866611" y="14020737"/>
            <a:ext cx="1734207" cy="1337856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pic>
        <p:nvPicPr>
          <p:cNvPr id="16395" name="Graphic 16394" descr="Shopping basket with solid fill">
            <a:extLst>
              <a:ext uri="{FF2B5EF4-FFF2-40B4-BE49-F238E27FC236}">
                <a16:creationId xmlns:a16="http://schemas.microsoft.com/office/drawing/2014/main" id="{B0C2B001-AE23-7EB3-A2C4-07FA52C69A59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7966880" y="15948694"/>
            <a:ext cx="636526" cy="756239"/>
          </a:xfrm>
          <a:prstGeom prst="rect">
            <a:avLst/>
          </a:prstGeom>
        </p:spPr>
      </p:pic>
      <p:sp>
        <p:nvSpPr>
          <p:cNvPr id="16397" name="TextBox 16396">
            <a:extLst>
              <a:ext uri="{FF2B5EF4-FFF2-40B4-BE49-F238E27FC236}">
                <a16:creationId xmlns:a16="http://schemas.microsoft.com/office/drawing/2014/main" id="{5BC09378-DD7F-00D8-26D1-EBC77CFFF2F3}"/>
              </a:ext>
            </a:extLst>
          </p:cNvPr>
          <p:cNvSpPr txBox="1"/>
          <p:nvPr/>
        </p:nvSpPr>
        <p:spPr>
          <a:xfrm>
            <a:off x="18543041" y="15805576"/>
            <a:ext cx="25904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</a:rPr>
              <a:t>Basket of top n products by inclusion rate </a:t>
            </a:r>
          </a:p>
          <a:p>
            <a:pPr algn="ctr"/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</a:rPr>
              <a:t>(actual or predicted)</a:t>
            </a:r>
          </a:p>
        </p:txBody>
      </p:sp>
      <p:sp>
        <p:nvSpPr>
          <p:cNvPr id="758" name="Rectangle 757">
            <a:extLst>
              <a:ext uri="{FF2B5EF4-FFF2-40B4-BE49-F238E27FC236}">
                <a16:creationId xmlns:a16="http://schemas.microsoft.com/office/drawing/2014/main" id="{30425177-C344-E052-F2AB-660A36878BCF}"/>
              </a:ext>
            </a:extLst>
          </p:cNvPr>
          <p:cNvSpPr/>
          <p:nvPr/>
        </p:nvSpPr>
        <p:spPr bwMode="auto">
          <a:xfrm>
            <a:off x="11568317" y="18893048"/>
            <a:ext cx="1519597" cy="626685"/>
          </a:xfrm>
          <a:prstGeom prst="rect">
            <a:avLst/>
          </a:prstGeom>
          <a:solidFill>
            <a:srgbClr val="DEC69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Date Prediction</a:t>
            </a:r>
            <a:endParaRPr kumimoji="0" lang="en-IN" sz="20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5" name="Rectangle 764">
            <a:extLst>
              <a:ext uri="{FF2B5EF4-FFF2-40B4-BE49-F238E27FC236}">
                <a16:creationId xmlns:a16="http://schemas.microsoft.com/office/drawing/2014/main" id="{C998A86E-E4F7-53DA-4506-60BF665B5DA4}"/>
              </a:ext>
            </a:extLst>
          </p:cNvPr>
          <p:cNvSpPr/>
          <p:nvPr/>
        </p:nvSpPr>
        <p:spPr bwMode="auto">
          <a:xfrm>
            <a:off x="13750945" y="10800071"/>
            <a:ext cx="3685073" cy="9991463"/>
          </a:xfrm>
          <a:prstGeom prst="rect">
            <a:avLst/>
          </a:prstGeom>
          <a:noFill/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66" name="Rectangle 765">
            <a:extLst>
              <a:ext uri="{FF2B5EF4-FFF2-40B4-BE49-F238E27FC236}">
                <a16:creationId xmlns:a16="http://schemas.microsoft.com/office/drawing/2014/main" id="{2F79F5CB-52A3-F2B8-C1EE-45AC995B8C74}"/>
              </a:ext>
            </a:extLst>
          </p:cNvPr>
          <p:cNvSpPr/>
          <p:nvPr/>
        </p:nvSpPr>
        <p:spPr bwMode="auto">
          <a:xfrm>
            <a:off x="13690195" y="10719234"/>
            <a:ext cx="3804732" cy="10136970"/>
          </a:xfrm>
          <a:prstGeom prst="rect">
            <a:avLst/>
          </a:prstGeom>
          <a:noFill/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63" name="Rectangle 762">
            <a:extLst>
              <a:ext uri="{FF2B5EF4-FFF2-40B4-BE49-F238E27FC236}">
                <a16:creationId xmlns:a16="http://schemas.microsoft.com/office/drawing/2014/main" id="{EAB2E447-A3EC-18E0-BEB0-4F3BF48DF883}"/>
              </a:ext>
            </a:extLst>
          </p:cNvPr>
          <p:cNvSpPr/>
          <p:nvPr/>
        </p:nvSpPr>
        <p:spPr bwMode="auto">
          <a:xfrm>
            <a:off x="17662110" y="10791450"/>
            <a:ext cx="4013346" cy="10000084"/>
          </a:xfrm>
          <a:prstGeom prst="rect">
            <a:avLst/>
          </a:prstGeom>
          <a:noFill/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64" name="Rectangle 763">
            <a:extLst>
              <a:ext uri="{FF2B5EF4-FFF2-40B4-BE49-F238E27FC236}">
                <a16:creationId xmlns:a16="http://schemas.microsoft.com/office/drawing/2014/main" id="{8DDED871-0308-7734-DB19-1F2D0C64D3A0}"/>
              </a:ext>
            </a:extLst>
          </p:cNvPr>
          <p:cNvSpPr/>
          <p:nvPr/>
        </p:nvSpPr>
        <p:spPr bwMode="auto">
          <a:xfrm>
            <a:off x="17590232" y="10710488"/>
            <a:ext cx="4173372" cy="10145716"/>
          </a:xfrm>
          <a:prstGeom prst="rect">
            <a:avLst/>
          </a:prstGeom>
          <a:noFill/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25" name="Rectangle 106">
            <a:extLst>
              <a:ext uri="{FF2B5EF4-FFF2-40B4-BE49-F238E27FC236}">
                <a16:creationId xmlns:a16="http://schemas.microsoft.com/office/drawing/2014/main" id="{B21A753C-AB2C-7202-2926-061509E636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065299" y="8545267"/>
            <a:ext cx="6866656" cy="31096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sz="2000" spc="10">
                <a:latin typeface="Arial" panose="020B0604020202020204" pitchFamily="34" charset="0"/>
                <a:cs typeface="Arial" panose="020B0604020202020204" pitchFamily="34" charset="0"/>
              </a:rPr>
              <a:t>Fig. 4. </a:t>
            </a:r>
            <a:r>
              <a:rPr lang="en-US" sz="2000" i="1" spc="10">
                <a:latin typeface="Arial" panose="020B0604020202020204" pitchFamily="34" charset="0"/>
                <a:cs typeface="Arial" panose="020B0604020202020204" pitchFamily="34" charset="0"/>
              </a:rPr>
              <a:t>Data structure</a:t>
            </a:r>
            <a:endParaRPr lang="en-US" sz="20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35" name="Rectangle 16434">
            <a:extLst>
              <a:ext uri="{FF2B5EF4-FFF2-40B4-BE49-F238E27FC236}">
                <a16:creationId xmlns:a16="http://schemas.microsoft.com/office/drawing/2014/main" id="{E6D2AF7C-75D1-177C-FA41-0E6B364B22AB}"/>
              </a:ext>
            </a:extLst>
          </p:cNvPr>
          <p:cNvSpPr/>
          <p:nvPr/>
        </p:nvSpPr>
        <p:spPr bwMode="auto">
          <a:xfrm>
            <a:off x="11269051" y="12787516"/>
            <a:ext cx="10599961" cy="4387999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6436" name="Rectangle 16435">
            <a:extLst>
              <a:ext uri="{FF2B5EF4-FFF2-40B4-BE49-F238E27FC236}">
                <a16:creationId xmlns:a16="http://schemas.microsoft.com/office/drawing/2014/main" id="{A201C72F-8E87-B9B1-7E64-52FCCD5AB6D4}"/>
              </a:ext>
            </a:extLst>
          </p:cNvPr>
          <p:cNvSpPr/>
          <p:nvPr/>
        </p:nvSpPr>
        <p:spPr bwMode="auto">
          <a:xfrm>
            <a:off x="11298681" y="17410040"/>
            <a:ext cx="10565999" cy="3268011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6400" name="Rectangle 16399">
            <a:extLst>
              <a:ext uri="{FF2B5EF4-FFF2-40B4-BE49-F238E27FC236}">
                <a16:creationId xmlns:a16="http://schemas.microsoft.com/office/drawing/2014/main" id="{CA1D61F9-025D-EEF8-E28D-B6C8C9A2C57E}"/>
              </a:ext>
            </a:extLst>
          </p:cNvPr>
          <p:cNvSpPr/>
          <p:nvPr/>
        </p:nvSpPr>
        <p:spPr bwMode="auto">
          <a:xfrm>
            <a:off x="17603190" y="9386093"/>
            <a:ext cx="1683678" cy="471703"/>
          </a:xfrm>
          <a:prstGeom prst="rect">
            <a:avLst/>
          </a:prstGeom>
          <a:solidFill>
            <a:srgbClr val="DEC69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400" b="1">
                <a:latin typeface="Arial" panose="020B0604020202020204" pitchFamily="34" charset="0"/>
                <a:cs typeface="Arial" panose="020B0604020202020204" pitchFamily="34" charset="0"/>
              </a:rPr>
              <a:t>Libraries</a:t>
            </a:r>
            <a:endParaRPr kumimoji="0" lang="en-IN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44" name="TextBox 16443">
            <a:extLst>
              <a:ext uri="{FF2B5EF4-FFF2-40B4-BE49-F238E27FC236}">
                <a16:creationId xmlns:a16="http://schemas.microsoft.com/office/drawing/2014/main" id="{D713D194-E0A1-11A0-8E07-2A3012982A81}"/>
              </a:ext>
            </a:extLst>
          </p:cNvPr>
          <p:cNvSpPr txBox="1"/>
          <p:nvPr/>
        </p:nvSpPr>
        <p:spPr>
          <a:xfrm>
            <a:off x="35924374" y="13979128"/>
            <a:ext cx="59190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i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</a:rPr>
              <a:t>Fig 9</a:t>
            </a:r>
            <a:r>
              <a:rPr lang="en-US" sz="2000" i="1">
                <a:latin typeface="Arial" panose="020B0604020202020204" pitchFamily="34" charset="0"/>
                <a:cs typeface="Arial" panose="020B0604020202020204" pitchFamily="34" charset="0"/>
              </a:rPr>
              <a:t>. A/B testing to measure business efficacy</a:t>
            </a:r>
            <a:endParaRPr lang="en-US" sz="2000"/>
          </a:p>
        </p:txBody>
      </p:sp>
      <p:sp>
        <p:nvSpPr>
          <p:cNvPr id="16445" name="TextBox 16444">
            <a:extLst>
              <a:ext uri="{FF2B5EF4-FFF2-40B4-BE49-F238E27FC236}">
                <a16:creationId xmlns:a16="http://schemas.microsoft.com/office/drawing/2014/main" id="{2ED87A65-3A86-32DA-90D2-726DBF16AAB3}"/>
              </a:ext>
            </a:extLst>
          </p:cNvPr>
          <p:cNvSpPr txBox="1"/>
          <p:nvPr/>
        </p:nvSpPr>
        <p:spPr>
          <a:xfrm>
            <a:off x="37198004" y="20157644"/>
            <a:ext cx="6581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i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</a:rPr>
              <a:t>Fig 10</a:t>
            </a:r>
            <a:r>
              <a:rPr lang="en-US" sz="2000" i="1">
                <a:latin typeface="Arial" panose="020B0604020202020204" pitchFamily="34" charset="0"/>
                <a:cs typeface="Arial" panose="020B0604020202020204" pitchFamily="34" charset="0"/>
              </a:rPr>
              <a:t>. Use case of model</a:t>
            </a:r>
            <a:endParaRPr lang="en-US" sz="2000"/>
          </a:p>
        </p:txBody>
      </p:sp>
      <p:sp>
        <p:nvSpPr>
          <p:cNvPr id="16446" name="Rectangle 16445">
            <a:extLst>
              <a:ext uri="{FF2B5EF4-FFF2-40B4-BE49-F238E27FC236}">
                <a16:creationId xmlns:a16="http://schemas.microsoft.com/office/drawing/2014/main" id="{BE6078F6-DE85-C3D7-4426-D4D9C024671C}"/>
              </a:ext>
            </a:extLst>
          </p:cNvPr>
          <p:cNvSpPr/>
          <p:nvPr/>
        </p:nvSpPr>
        <p:spPr bwMode="auto">
          <a:xfrm>
            <a:off x="1980555" y="8573554"/>
            <a:ext cx="1254617" cy="2522661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6447" name="Rectangle 16446">
            <a:extLst>
              <a:ext uri="{FF2B5EF4-FFF2-40B4-BE49-F238E27FC236}">
                <a16:creationId xmlns:a16="http://schemas.microsoft.com/office/drawing/2014/main" id="{8F9CEED8-24A2-B672-2AEB-9D4C92157197}"/>
              </a:ext>
            </a:extLst>
          </p:cNvPr>
          <p:cNvSpPr/>
          <p:nvPr/>
        </p:nvSpPr>
        <p:spPr bwMode="auto">
          <a:xfrm>
            <a:off x="3410537" y="8573554"/>
            <a:ext cx="1364917" cy="2522661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112" name="Rectangle 2111">
            <a:extLst>
              <a:ext uri="{FF2B5EF4-FFF2-40B4-BE49-F238E27FC236}">
                <a16:creationId xmlns:a16="http://schemas.microsoft.com/office/drawing/2014/main" id="{C95E7569-6C12-675F-478E-FBD880C97D66}"/>
              </a:ext>
            </a:extLst>
          </p:cNvPr>
          <p:cNvSpPr/>
          <p:nvPr/>
        </p:nvSpPr>
        <p:spPr bwMode="auto">
          <a:xfrm>
            <a:off x="4968730" y="8573552"/>
            <a:ext cx="1561468" cy="2522661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113" name="Rectangle 2112">
            <a:extLst>
              <a:ext uri="{FF2B5EF4-FFF2-40B4-BE49-F238E27FC236}">
                <a16:creationId xmlns:a16="http://schemas.microsoft.com/office/drawing/2014/main" id="{03B6DD7E-C99F-CD4D-666D-5F7CE95B3A02}"/>
              </a:ext>
            </a:extLst>
          </p:cNvPr>
          <p:cNvSpPr/>
          <p:nvPr/>
        </p:nvSpPr>
        <p:spPr bwMode="auto">
          <a:xfrm>
            <a:off x="6528468" y="8573553"/>
            <a:ext cx="1409921" cy="2522661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114" name="Rectangle 2113">
            <a:extLst>
              <a:ext uri="{FF2B5EF4-FFF2-40B4-BE49-F238E27FC236}">
                <a16:creationId xmlns:a16="http://schemas.microsoft.com/office/drawing/2014/main" id="{E5AEC158-B268-0962-5549-03FD1E7DCAE7}"/>
              </a:ext>
            </a:extLst>
          </p:cNvPr>
          <p:cNvSpPr/>
          <p:nvPr/>
        </p:nvSpPr>
        <p:spPr bwMode="auto">
          <a:xfrm>
            <a:off x="12476806" y="9388767"/>
            <a:ext cx="1683678" cy="471703"/>
          </a:xfrm>
          <a:prstGeom prst="rect">
            <a:avLst/>
          </a:prstGeom>
          <a:solidFill>
            <a:srgbClr val="DEC69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400" b="1">
                <a:latin typeface="Arial" panose="020B0604020202020204" pitchFamily="34" charset="0"/>
                <a:cs typeface="Arial" panose="020B0604020202020204" pitchFamily="34" charset="0"/>
              </a:rPr>
              <a:t>Software</a:t>
            </a:r>
            <a:endParaRPr kumimoji="0" lang="en-IN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414" name="Picture 6" descr="Python icon - Free download on Iconfinder">
            <a:extLst>
              <a:ext uri="{FF2B5EF4-FFF2-40B4-BE49-F238E27FC236}">
                <a16:creationId xmlns:a16="http://schemas.microsoft.com/office/drawing/2014/main" id="{C4ACD853-6B0C-6E86-BD1C-012F4C8969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95929" y="9944048"/>
            <a:ext cx="434842" cy="434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15" name="TextBox 2114">
            <a:extLst>
              <a:ext uri="{FF2B5EF4-FFF2-40B4-BE49-F238E27FC236}">
                <a16:creationId xmlns:a16="http://schemas.microsoft.com/office/drawing/2014/main" id="{EA836EC1-E31C-643E-A232-78817094EC65}"/>
              </a:ext>
            </a:extLst>
          </p:cNvPr>
          <p:cNvSpPr txBox="1"/>
          <p:nvPr/>
        </p:nvSpPr>
        <p:spPr>
          <a:xfrm>
            <a:off x="12930771" y="9950334"/>
            <a:ext cx="14569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>
                <a:latin typeface="Arial" panose="020B0604020202020204" pitchFamily="34" charset="0"/>
                <a:cs typeface="Arial" panose="020B0604020202020204" pitchFamily="34" charset="0"/>
              </a:rPr>
              <a:t>Python</a:t>
            </a:r>
          </a:p>
        </p:txBody>
      </p:sp>
      <p:pic>
        <p:nvPicPr>
          <p:cNvPr id="17418" name="Picture 10" descr="XGBoost - Crunchbase Company Profile &amp; Funding">
            <a:extLst>
              <a:ext uri="{FF2B5EF4-FFF2-40B4-BE49-F238E27FC236}">
                <a16:creationId xmlns:a16="http://schemas.microsoft.com/office/drawing/2014/main" id="{74315893-5699-085E-125C-F73C28DACA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735"/>
          <a:stretch/>
        </p:blipFill>
        <p:spPr bwMode="auto">
          <a:xfrm>
            <a:off x="17781696" y="9942997"/>
            <a:ext cx="1618968" cy="574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0" name="Picture 12">
            <a:extLst>
              <a:ext uri="{FF2B5EF4-FFF2-40B4-BE49-F238E27FC236}">
                <a16:creationId xmlns:a16="http://schemas.microsoft.com/office/drawing/2014/main" id="{82D31025-2BDD-B095-3030-76D918E7C5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64682" y="9648677"/>
            <a:ext cx="1288934" cy="693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16" name="TextBox 2115">
            <a:extLst>
              <a:ext uri="{FF2B5EF4-FFF2-40B4-BE49-F238E27FC236}">
                <a16:creationId xmlns:a16="http://schemas.microsoft.com/office/drawing/2014/main" id="{64709847-EC7F-F322-B02B-DFCDE187677B}"/>
              </a:ext>
            </a:extLst>
          </p:cNvPr>
          <p:cNvSpPr txBox="1"/>
          <p:nvPr/>
        </p:nvSpPr>
        <p:spPr>
          <a:xfrm>
            <a:off x="6742660" y="10115744"/>
            <a:ext cx="2934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endParaRPr lang="en-US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C4C2CEC-CBCA-149F-37DC-EEAC03855FA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5868821" y="9926681"/>
            <a:ext cx="1837046" cy="464445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F531FEF-7D65-2628-B9F0-15730AB6CB1A}"/>
              </a:ext>
            </a:extLst>
          </p:cNvPr>
          <p:cNvSpPr/>
          <p:nvPr/>
        </p:nvSpPr>
        <p:spPr>
          <a:xfrm>
            <a:off x="19682914" y="14019567"/>
            <a:ext cx="1734207" cy="1337856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92DAD4F-BC62-F1BD-625E-C50FD1DCD192}"/>
              </a:ext>
            </a:extLst>
          </p:cNvPr>
          <p:cNvSpPr txBox="1"/>
          <p:nvPr/>
        </p:nvSpPr>
        <p:spPr>
          <a:xfrm>
            <a:off x="17695490" y="14160730"/>
            <a:ext cx="20439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>
                <a:latin typeface="Arial" panose="020B0604020202020204" pitchFamily="34" charset="0"/>
                <a:cs typeface="Arial" panose="020B0604020202020204" pitchFamily="34" charset="0"/>
              </a:rPr>
              <a:t>Collaborative Filter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73A7715-E328-8591-1434-D1F1A793A863}"/>
              </a:ext>
            </a:extLst>
          </p:cNvPr>
          <p:cNvSpPr/>
          <p:nvPr/>
        </p:nvSpPr>
        <p:spPr bwMode="auto">
          <a:xfrm>
            <a:off x="17928786" y="14868380"/>
            <a:ext cx="1597225" cy="350488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E13000B-2BEB-0BC9-508F-A940F2274A9E}"/>
              </a:ext>
            </a:extLst>
          </p:cNvPr>
          <p:cNvSpPr txBox="1"/>
          <p:nvPr/>
        </p:nvSpPr>
        <p:spPr>
          <a:xfrm>
            <a:off x="19523057" y="14209282"/>
            <a:ext cx="20439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>
                <a:latin typeface="Arial" panose="020B0604020202020204" pitchFamily="34" charset="0"/>
                <a:cs typeface="Arial" panose="020B0604020202020204" pitchFamily="34" charset="0"/>
              </a:rPr>
              <a:t>Content-Based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29F21BB-5066-7220-4A52-48B9F9A7249C}"/>
              </a:ext>
            </a:extLst>
          </p:cNvPr>
          <p:cNvSpPr txBox="1"/>
          <p:nvPr/>
        </p:nvSpPr>
        <p:spPr>
          <a:xfrm>
            <a:off x="19598728" y="14842772"/>
            <a:ext cx="20439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>
                <a:latin typeface="Arial" panose="020B0604020202020204" pitchFamily="34" charset="0"/>
                <a:cs typeface="Arial" panose="020B0604020202020204" pitchFamily="34" charset="0"/>
              </a:rPr>
              <a:t>K-Mean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D182C095-5D22-9C10-8D5F-0002AA62E3D2}"/>
              </a:ext>
            </a:extLst>
          </p:cNvPr>
          <p:cNvSpPr/>
          <p:nvPr/>
        </p:nvSpPr>
        <p:spPr bwMode="auto">
          <a:xfrm>
            <a:off x="19756138" y="14858049"/>
            <a:ext cx="1597225" cy="360733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pic>
        <p:nvPicPr>
          <p:cNvPr id="69" name="Graphic 4" descr="Man with solid fill">
            <a:extLst>
              <a:ext uri="{FF2B5EF4-FFF2-40B4-BE49-F238E27FC236}">
                <a16:creationId xmlns:a16="http://schemas.microsoft.com/office/drawing/2014/main" id="{B29DD3A3-BA60-D069-3213-75B8F79A7555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8393809" y="18366875"/>
            <a:ext cx="775332" cy="767620"/>
          </a:xfrm>
          <a:prstGeom prst="rect">
            <a:avLst/>
          </a:prstGeom>
        </p:spPr>
      </p:pic>
      <p:pic>
        <p:nvPicPr>
          <p:cNvPr id="79" name="Picture 9" descr="A picture containing black&#10;&#10;Description automatically generated">
            <a:extLst>
              <a:ext uri="{FF2B5EF4-FFF2-40B4-BE49-F238E27FC236}">
                <a16:creationId xmlns:a16="http://schemas.microsoft.com/office/drawing/2014/main" id="{25FA2FEA-BF10-1FD7-A86C-A4E22D633B40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7247916" y="19954226"/>
            <a:ext cx="728777" cy="523320"/>
          </a:xfrm>
          <a:prstGeom prst="rect">
            <a:avLst/>
          </a:prstGeom>
        </p:spPr>
      </p:pic>
      <p:pic>
        <p:nvPicPr>
          <p:cNvPr id="82" name="Picture 10">
            <a:extLst>
              <a:ext uri="{FF2B5EF4-FFF2-40B4-BE49-F238E27FC236}">
                <a16:creationId xmlns:a16="http://schemas.microsoft.com/office/drawing/2014/main" id="{632CE361-AF70-7D19-230B-79BB42D86682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9486999" y="19950892"/>
            <a:ext cx="740013" cy="559008"/>
          </a:xfrm>
          <a:prstGeom prst="rect">
            <a:avLst/>
          </a:prstGeom>
        </p:spPr>
      </p:pic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0100127B-7B38-0B12-4820-ED84211D826B}"/>
              </a:ext>
            </a:extLst>
          </p:cNvPr>
          <p:cNvCxnSpPr/>
          <p:nvPr/>
        </p:nvCxnSpPr>
        <p:spPr>
          <a:xfrm flipH="1">
            <a:off x="7820957" y="19278231"/>
            <a:ext cx="750714" cy="601437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F7CA63E7-291F-BA32-1EAB-77641DB70A98}"/>
              </a:ext>
            </a:extLst>
          </p:cNvPr>
          <p:cNvCxnSpPr/>
          <p:nvPr/>
        </p:nvCxnSpPr>
        <p:spPr>
          <a:xfrm>
            <a:off x="8068693" y="20189490"/>
            <a:ext cx="1325893" cy="0"/>
          </a:xfrm>
          <a:prstGeom prst="straightConnector1">
            <a:avLst/>
          </a:prstGeom>
          <a:ln>
            <a:headEnd type="triangle"/>
            <a:tailEnd type="triangle"/>
          </a:ln>
          <a:effec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DAB0A20F-CD1C-7460-8F12-F757FF684F3F}"/>
              </a:ext>
            </a:extLst>
          </p:cNvPr>
          <p:cNvCxnSpPr>
            <a:cxnSpLocks/>
          </p:cNvCxnSpPr>
          <p:nvPr/>
        </p:nvCxnSpPr>
        <p:spPr>
          <a:xfrm flipH="1" flipV="1">
            <a:off x="8894370" y="19270317"/>
            <a:ext cx="962635" cy="609351"/>
          </a:xfrm>
          <a:prstGeom prst="straightConnector1">
            <a:avLst/>
          </a:prstGeom>
          <a:ln>
            <a:solidFill>
              <a:srgbClr val="CFB991"/>
            </a:solidFill>
            <a:prstDash val="dash"/>
            <a:tailEnd type="triangle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8" name="Rectangle 107">
            <a:extLst>
              <a:ext uri="{FF2B5EF4-FFF2-40B4-BE49-F238E27FC236}">
                <a16:creationId xmlns:a16="http://schemas.microsoft.com/office/drawing/2014/main" id="{1E5FA84B-7F3C-8527-DAA8-EC1CF2B74FAC}"/>
              </a:ext>
            </a:extLst>
          </p:cNvPr>
          <p:cNvSpPr/>
          <p:nvPr/>
        </p:nvSpPr>
        <p:spPr bwMode="auto">
          <a:xfrm>
            <a:off x="26670" y="18009818"/>
            <a:ext cx="6511246" cy="3760999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C8439A76-BCDB-20F3-05FF-1FAC14DBF01B}"/>
              </a:ext>
            </a:extLst>
          </p:cNvPr>
          <p:cNvSpPr/>
          <p:nvPr/>
        </p:nvSpPr>
        <p:spPr bwMode="auto">
          <a:xfrm>
            <a:off x="6854050" y="18009818"/>
            <a:ext cx="3963815" cy="3760999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7" name="Rectangle 106">
            <a:extLst>
              <a:ext uri="{FF2B5EF4-FFF2-40B4-BE49-F238E27FC236}">
                <a16:creationId xmlns:a16="http://schemas.microsoft.com/office/drawing/2014/main" id="{6C3D9723-C981-BC1A-B128-E8D8989E6A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9181" y="21199165"/>
            <a:ext cx="6866656" cy="31096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9502" tIns="199502" rIns="199502" bIns="199502" anchor="t"/>
          <a:lstStyle>
            <a:lvl1pPr defTabSz="887413">
              <a:defRPr sz="2400">
                <a:solidFill>
                  <a:schemeClr val="tx1"/>
                </a:solidFill>
                <a:latin typeface="Times" charset="0"/>
              </a:defRPr>
            </a:lvl1pPr>
            <a:lvl2pPr marL="442913" defTabSz="887413">
              <a:defRPr sz="2400">
                <a:solidFill>
                  <a:schemeClr val="tx1"/>
                </a:solidFill>
                <a:latin typeface="Times" charset="0"/>
              </a:defRPr>
            </a:lvl2pPr>
            <a:lvl3pPr marL="887413" defTabSz="887413">
              <a:defRPr sz="2400">
                <a:solidFill>
                  <a:schemeClr val="tx1"/>
                </a:solidFill>
                <a:latin typeface="Times" charset="0"/>
              </a:defRPr>
            </a:lvl3pPr>
            <a:lvl4pPr marL="1330325" defTabSz="887413">
              <a:defRPr sz="2400">
                <a:solidFill>
                  <a:schemeClr val="tx1"/>
                </a:solidFill>
                <a:latin typeface="Times" charset="0"/>
              </a:defRPr>
            </a:lvl4pPr>
            <a:lvl5pPr marL="1773238" defTabSz="887413">
              <a:defRPr sz="2400">
                <a:solidFill>
                  <a:schemeClr val="tx1"/>
                </a:solidFill>
                <a:latin typeface="Times" charset="0"/>
              </a:defRPr>
            </a:lvl5pPr>
            <a:lvl6pPr marL="22304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6876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1448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602038" defTabSz="8874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pPr algn="ctr"/>
            <a:r>
              <a:rPr lang="en-US" sz="2000" spc="10">
                <a:latin typeface="Arial" panose="020B0604020202020204" pitchFamily="34" charset="0"/>
                <a:cs typeface="Arial" panose="020B0604020202020204" pitchFamily="34" charset="0"/>
              </a:rPr>
              <a:t>Fig. 3. </a:t>
            </a:r>
            <a:r>
              <a:rPr lang="en-US" sz="2000" i="1" spc="10">
                <a:latin typeface="Arial" panose="020B0604020202020204" pitchFamily="34" charset="0"/>
                <a:cs typeface="Arial" panose="020B0604020202020204" pitchFamily="34" charset="0"/>
              </a:rPr>
              <a:t>Content based filtering</a:t>
            </a:r>
            <a:endParaRPr lang="en-US" sz="2000" spc="1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3" name="Picture 92">
            <a:extLst>
              <a:ext uri="{FF2B5EF4-FFF2-40B4-BE49-F238E27FC236}">
                <a16:creationId xmlns:a16="http://schemas.microsoft.com/office/drawing/2014/main" id="{BA4BFB4F-8DEE-9A7A-4163-BF1AB9CF6802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8547166" y="18096332"/>
            <a:ext cx="502964" cy="243861"/>
          </a:xfrm>
          <a:prstGeom prst="rect">
            <a:avLst/>
          </a:prstGeom>
        </p:spPr>
      </p:pic>
      <p:sp>
        <p:nvSpPr>
          <p:cNvPr id="116" name="Subtitle 2">
            <a:extLst>
              <a:ext uri="{FF2B5EF4-FFF2-40B4-BE49-F238E27FC236}">
                <a16:creationId xmlns:a16="http://schemas.microsoft.com/office/drawing/2014/main" id="{C67FCE66-4C34-3F16-FBED-B107CE0BB199}"/>
              </a:ext>
            </a:extLst>
          </p:cNvPr>
          <p:cNvSpPr txBox="1">
            <a:spLocks/>
          </p:cNvSpPr>
          <p:nvPr/>
        </p:nvSpPr>
        <p:spPr>
          <a:xfrm>
            <a:off x="7066172" y="20562435"/>
            <a:ext cx="1304366" cy="2769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200" b="1" i="0" kern="1200">
                <a:solidFill>
                  <a:schemeClr val="accent2"/>
                </a:solidFill>
                <a:latin typeface="Acumin Pro SemiCondensed" panose="020B0506020202020204" pitchFamily="34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9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solidFill>
                  <a:sysClr val="windowText" lastClr="000000"/>
                </a:solidFill>
                <a:latin typeface="Acumin Pro SemiCondensed"/>
              </a:rPr>
              <a:t>Beef Taco </a:t>
            </a:r>
            <a:endParaRPr lang="en-US" sz="1800">
              <a:solidFill>
                <a:sysClr val="windowText" lastClr="000000"/>
              </a:solidFill>
            </a:endParaRPr>
          </a:p>
        </p:txBody>
      </p:sp>
      <p:sp>
        <p:nvSpPr>
          <p:cNvPr id="117" name="Subtitle 2">
            <a:extLst>
              <a:ext uri="{FF2B5EF4-FFF2-40B4-BE49-F238E27FC236}">
                <a16:creationId xmlns:a16="http://schemas.microsoft.com/office/drawing/2014/main" id="{A9677A95-A9CA-6050-8878-A3D2CFB7A370}"/>
              </a:ext>
            </a:extLst>
          </p:cNvPr>
          <p:cNvSpPr txBox="1">
            <a:spLocks/>
          </p:cNvSpPr>
          <p:nvPr/>
        </p:nvSpPr>
        <p:spPr>
          <a:xfrm>
            <a:off x="9395646" y="20568933"/>
            <a:ext cx="1342808" cy="2769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200" b="1" i="0" kern="1200">
                <a:solidFill>
                  <a:schemeClr val="accent2"/>
                </a:solidFill>
                <a:latin typeface="Acumin Pro SemiCondensed" panose="020B0506020202020204" pitchFamily="34" charset="77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9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solidFill>
                  <a:sysClr val="windowText" lastClr="000000"/>
                </a:solidFill>
                <a:latin typeface="Acumin Pro SemiCondensed"/>
              </a:rPr>
              <a:t>Beef Burrito </a:t>
            </a:r>
            <a:endParaRPr lang="en-US" sz="1800">
              <a:solidFill>
                <a:sysClr val="windowText" lastClr="000000"/>
              </a:solidFill>
            </a:endParaRPr>
          </a:p>
        </p:txBody>
      </p:sp>
      <p:pic>
        <p:nvPicPr>
          <p:cNvPr id="17410" name="Picture 2">
            <a:extLst>
              <a:ext uri="{FF2B5EF4-FFF2-40B4-BE49-F238E27FC236}">
                <a16:creationId xmlns:a16="http://schemas.microsoft.com/office/drawing/2014/main" id="{A802BA4F-366B-538C-3363-37B8E4FB90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0816" y="10221009"/>
            <a:ext cx="1205223" cy="830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1D2D663A-3270-E8F1-E949-A29105452F23}"/>
              </a:ext>
            </a:extLst>
          </p:cNvPr>
          <p:cNvSpPr txBox="1"/>
          <p:nvPr/>
        </p:nvSpPr>
        <p:spPr>
          <a:xfrm>
            <a:off x="41858" y="15181331"/>
            <a:ext cx="4970872" cy="2554545"/>
          </a:xfrm>
          <a:prstGeom prst="rect">
            <a:avLst/>
          </a:prstGeom>
          <a:solidFill>
            <a:schemeClr val="bg1"/>
          </a:solidFill>
          <a:ln w="19050">
            <a:solidFill>
              <a:srgbClr val="C28E0E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b="1" u="sng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llaborative Filt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ptures implicit/unseen relationshi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igher accuracy when generating basket including previously ordered i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re conservative in predicting new items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02386E1D-1C87-E0E5-8B7B-7ABB81DC0F35}"/>
              </a:ext>
            </a:extLst>
          </p:cNvPr>
          <p:cNvSpPr txBox="1"/>
          <p:nvPr/>
        </p:nvSpPr>
        <p:spPr>
          <a:xfrm>
            <a:off x="6614524" y="15265804"/>
            <a:ext cx="4239842" cy="2492990"/>
          </a:xfrm>
          <a:prstGeom prst="rect">
            <a:avLst/>
          </a:prstGeom>
          <a:solidFill>
            <a:schemeClr val="bg1"/>
          </a:solidFill>
          <a:ln w="19050">
            <a:solidFill>
              <a:srgbClr val="C28E0E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b="1" u="sng">
                <a:latin typeface="Arial" panose="020B0604020202020204" pitchFamily="34" charset="0"/>
                <a:cs typeface="Arial" panose="020B0604020202020204" pitchFamily="34" charset="0"/>
              </a:rPr>
              <a:t>Content-based Filtering</a:t>
            </a:r>
          </a:p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</a:rPr>
              <a:t>Explicitly captures similarities between i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</a:rPr>
              <a:t>Higher accuracy when predicting unseen i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</a:rPr>
              <a:t>More aggressive in predictions</a:t>
            </a: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9" name="Graphic 118" descr="Handshake with solid fill">
            <a:extLst>
              <a:ext uri="{FF2B5EF4-FFF2-40B4-BE49-F238E27FC236}">
                <a16:creationId xmlns:a16="http://schemas.microsoft.com/office/drawing/2014/main" id="{F2D9D92A-DEAD-A964-C13A-55A8D67E8F03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5215388" y="16016215"/>
            <a:ext cx="1168559" cy="1168559"/>
          </a:xfrm>
          <a:prstGeom prst="rect">
            <a:avLst/>
          </a:prstGeom>
        </p:spPr>
      </p:pic>
      <p:grpSp>
        <p:nvGrpSpPr>
          <p:cNvPr id="121" name="Group 120">
            <a:extLst>
              <a:ext uri="{FF2B5EF4-FFF2-40B4-BE49-F238E27FC236}">
                <a16:creationId xmlns:a16="http://schemas.microsoft.com/office/drawing/2014/main" id="{12EA9B4F-7776-529E-9D31-413232D737A0}"/>
              </a:ext>
            </a:extLst>
          </p:cNvPr>
          <p:cNvGrpSpPr/>
          <p:nvPr/>
        </p:nvGrpSpPr>
        <p:grpSpPr>
          <a:xfrm>
            <a:off x="5257544" y="13828855"/>
            <a:ext cx="5520654" cy="1136042"/>
            <a:chOff x="5348088" y="13745177"/>
            <a:chExt cx="5520654" cy="1136042"/>
          </a:xfrm>
        </p:grpSpPr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F0C0D356-AC03-55ED-3AB2-71E18DB6B135}"/>
                </a:ext>
              </a:extLst>
            </p:cNvPr>
            <p:cNvSpPr/>
            <p:nvPr/>
          </p:nvSpPr>
          <p:spPr bwMode="auto">
            <a:xfrm>
              <a:off x="5728715" y="13865556"/>
              <a:ext cx="4949535" cy="1015663"/>
            </a:xfrm>
            <a:prstGeom prst="rect">
              <a:avLst/>
            </a:prstGeom>
            <a:solidFill>
              <a:schemeClr val="tx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" charset="0"/>
              </a:endParaRPr>
            </a:p>
          </p:txBody>
        </p: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053BE636-DE1A-7F4D-5FC6-4F16CE53FA10}"/>
                </a:ext>
              </a:extLst>
            </p:cNvPr>
            <p:cNvSpPr/>
            <p:nvPr/>
          </p:nvSpPr>
          <p:spPr bwMode="auto">
            <a:xfrm>
              <a:off x="5652746" y="13775503"/>
              <a:ext cx="4910655" cy="963500"/>
            </a:xfrm>
            <a:prstGeom prst="rect">
              <a:avLst/>
            </a:prstGeom>
            <a:solidFill>
              <a:srgbClr val="DEC699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" charset="0"/>
              </a:endParaRPr>
            </a:p>
          </p:txBody>
        </p:sp>
        <p:sp>
          <p:nvSpPr>
            <p:cNvPr id="139" name="Rectangle 106">
              <a:extLst>
                <a:ext uri="{FF2B5EF4-FFF2-40B4-BE49-F238E27FC236}">
                  <a16:creationId xmlns:a16="http://schemas.microsoft.com/office/drawing/2014/main" id="{3E12E3AA-330B-3E24-32D6-5D207BD44D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8088" y="13745177"/>
              <a:ext cx="5520654" cy="8237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99502" tIns="199502" rIns="199502" bIns="199502" anchor="t"/>
            <a:lstStyle>
              <a:lvl1pPr defTabSz="887413">
                <a:defRPr sz="2400">
                  <a:solidFill>
                    <a:schemeClr val="tx1"/>
                  </a:solidFill>
                  <a:latin typeface="Times" charset="0"/>
                </a:defRPr>
              </a:lvl1pPr>
              <a:lvl2pPr marL="442913" defTabSz="887413">
                <a:defRPr sz="2400">
                  <a:solidFill>
                    <a:schemeClr val="tx1"/>
                  </a:solidFill>
                  <a:latin typeface="Times" charset="0"/>
                </a:defRPr>
              </a:lvl2pPr>
              <a:lvl3pPr marL="887413" defTabSz="887413">
                <a:defRPr sz="2400">
                  <a:solidFill>
                    <a:schemeClr val="tx1"/>
                  </a:solidFill>
                  <a:latin typeface="Times" charset="0"/>
                </a:defRPr>
              </a:lvl3pPr>
              <a:lvl4pPr marL="1330325" defTabSz="887413">
                <a:defRPr sz="2400">
                  <a:solidFill>
                    <a:schemeClr val="tx1"/>
                  </a:solidFill>
                  <a:latin typeface="Times" charset="0"/>
                </a:defRPr>
              </a:lvl4pPr>
              <a:lvl5pPr marL="1773238" defTabSz="887413">
                <a:defRPr sz="2400">
                  <a:solidFill>
                    <a:schemeClr val="tx1"/>
                  </a:solidFill>
                  <a:latin typeface="Times" charset="0"/>
                </a:defRPr>
              </a:lvl5pPr>
              <a:lvl6pPr marL="2230438" defTabSz="8874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</a:defRPr>
              </a:lvl6pPr>
              <a:lvl7pPr marL="2687638" defTabSz="8874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</a:defRPr>
              </a:lvl7pPr>
              <a:lvl8pPr marL="3144838" defTabSz="8874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</a:defRPr>
              </a:lvl8pPr>
              <a:lvl9pPr marL="3602038" defTabSz="8874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</a:defRPr>
              </a:lvl9pPr>
            </a:lstStyle>
            <a:p>
              <a:pPr algn="ctr"/>
              <a:r>
                <a:rPr lang="en-US" sz="2200" b="1" spc="10">
                  <a:latin typeface="Arial" panose="020B0604020202020204" pitchFamily="34" charset="0"/>
                  <a:cs typeface="Arial" panose="020B0604020202020204" pitchFamily="34" charset="0"/>
                </a:rPr>
                <a:t>2. </a:t>
              </a:r>
              <a:r>
                <a:rPr lang="en-US" sz="2200" spc="10">
                  <a:latin typeface="Arial" panose="020B0604020202020204" pitchFamily="34" charset="0"/>
                  <a:cs typeface="Arial" panose="020B0604020202020204" pitchFamily="34" charset="0"/>
                </a:rPr>
                <a:t>Predicting &gt;=1 item of the bucket of products in the customer's next order </a:t>
              </a:r>
              <a:endParaRPr lang="en-US" sz="2200" b="1" spc="10">
                <a:cs typeface="Times"/>
              </a:endParaRPr>
            </a:p>
            <a:p>
              <a:pPr algn="just"/>
              <a:endParaRPr lang="en-US" sz="2200" spc="10">
                <a:latin typeface="Times New Roman"/>
                <a:cs typeface="Times"/>
              </a:endParaRPr>
            </a:p>
            <a:p>
              <a:pPr algn="just"/>
              <a:endParaRPr lang="en-US" sz="2200" spc="1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B19405BF-6CEF-24E4-D9B0-AD3C1980A3F2}"/>
              </a:ext>
            </a:extLst>
          </p:cNvPr>
          <p:cNvGrpSpPr/>
          <p:nvPr/>
        </p:nvGrpSpPr>
        <p:grpSpPr>
          <a:xfrm>
            <a:off x="0" y="13815340"/>
            <a:ext cx="5192396" cy="1149557"/>
            <a:chOff x="89156" y="13730467"/>
            <a:chExt cx="5192396" cy="1149557"/>
          </a:xfrm>
        </p:grpSpPr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785B28C1-AAE4-9745-528C-B66C67C0A530}"/>
                </a:ext>
              </a:extLst>
            </p:cNvPr>
            <p:cNvSpPr/>
            <p:nvPr/>
          </p:nvSpPr>
          <p:spPr bwMode="auto">
            <a:xfrm>
              <a:off x="332017" y="13864361"/>
              <a:ext cx="4949535" cy="1015663"/>
            </a:xfrm>
            <a:prstGeom prst="rect">
              <a:avLst/>
            </a:prstGeom>
            <a:solidFill>
              <a:schemeClr val="tx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" charset="0"/>
              </a:endParaRP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B17ED84F-1C18-204C-6424-01059682F79C}"/>
                </a:ext>
              </a:extLst>
            </p:cNvPr>
            <p:cNvSpPr/>
            <p:nvPr/>
          </p:nvSpPr>
          <p:spPr bwMode="auto">
            <a:xfrm>
              <a:off x="256048" y="13774308"/>
              <a:ext cx="4910655" cy="963500"/>
            </a:xfrm>
            <a:prstGeom prst="rect">
              <a:avLst/>
            </a:prstGeom>
            <a:solidFill>
              <a:srgbClr val="DEC699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" charset="0"/>
              </a:endParaRPr>
            </a:p>
          </p:txBody>
        </p:sp>
        <p:sp>
          <p:nvSpPr>
            <p:cNvPr id="153" name="Rectangle 106">
              <a:extLst>
                <a:ext uri="{FF2B5EF4-FFF2-40B4-BE49-F238E27FC236}">
                  <a16:creationId xmlns:a16="http://schemas.microsoft.com/office/drawing/2014/main" id="{F51085A1-7CAC-7BA6-5693-9C3D978D1C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156" y="13730467"/>
              <a:ext cx="5014118" cy="9133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99502" tIns="199502" rIns="199502" bIns="199502" anchor="t"/>
            <a:lstStyle>
              <a:lvl1pPr defTabSz="887413">
                <a:defRPr sz="2400">
                  <a:solidFill>
                    <a:schemeClr val="tx1"/>
                  </a:solidFill>
                  <a:latin typeface="Times" charset="0"/>
                </a:defRPr>
              </a:lvl1pPr>
              <a:lvl2pPr marL="442913" defTabSz="887413">
                <a:defRPr sz="2400">
                  <a:solidFill>
                    <a:schemeClr val="tx1"/>
                  </a:solidFill>
                  <a:latin typeface="Times" charset="0"/>
                </a:defRPr>
              </a:lvl2pPr>
              <a:lvl3pPr marL="887413" defTabSz="887413">
                <a:defRPr sz="2400">
                  <a:solidFill>
                    <a:schemeClr val="tx1"/>
                  </a:solidFill>
                  <a:latin typeface="Times" charset="0"/>
                </a:defRPr>
              </a:lvl3pPr>
              <a:lvl4pPr marL="1330325" defTabSz="887413">
                <a:defRPr sz="2400">
                  <a:solidFill>
                    <a:schemeClr val="tx1"/>
                  </a:solidFill>
                  <a:latin typeface="Times" charset="0"/>
                </a:defRPr>
              </a:lvl4pPr>
              <a:lvl5pPr marL="1773238" defTabSz="887413">
                <a:defRPr sz="2400">
                  <a:solidFill>
                    <a:schemeClr val="tx1"/>
                  </a:solidFill>
                  <a:latin typeface="Times" charset="0"/>
                </a:defRPr>
              </a:lvl5pPr>
              <a:lvl6pPr marL="2230438" defTabSz="8874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</a:defRPr>
              </a:lvl6pPr>
              <a:lvl7pPr marL="2687638" defTabSz="8874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</a:defRPr>
              </a:lvl7pPr>
              <a:lvl8pPr marL="3144838" defTabSz="8874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</a:defRPr>
              </a:lvl8pPr>
              <a:lvl9pPr marL="3602038" defTabSz="8874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charset="0"/>
                </a:defRPr>
              </a:lvl9pPr>
            </a:lstStyle>
            <a:p>
              <a:pPr algn="ctr"/>
              <a:r>
                <a:rPr lang="en-US" sz="2200" b="1" spc="10">
                  <a:latin typeface="Arial" panose="020B0604020202020204" pitchFamily="34" charset="0"/>
                  <a:cs typeface="Arial" panose="020B0604020202020204" pitchFamily="34" charset="0"/>
                </a:rPr>
                <a:t>1.</a:t>
              </a:r>
              <a:r>
                <a:rPr lang="en-US" sz="2200" spc="10">
                  <a:latin typeface="Arial" panose="020B0604020202020204" pitchFamily="34" charset="0"/>
                  <a:cs typeface="Arial" panose="020B0604020202020204" pitchFamily="34" charset="0"/>
                </a:rPr>
                <a:t>Buckets users based on their potential next visit day</a:t>
              </a:r>
            </a:p>
            <a:p>
              <a:pPr algn="ctr"/>
              <a:r>
                <a:rPr lang="en-US" sz="2200" b="1" spc="10">
                  <a:latin typeface="Times"/>
                  <a:cs typeface="Times"/>
                </a:rPr>
                <a:t> </a:t>
              </a:r>
              <a:endParaRPr lang="en-US" sz="2200" b="1" spc="10">
                <a:cs typeface="Times"/>
              </a:endParaRPr>
            </a:p>
            <a:p>
              <a:pPr algn="just"/>
              <a:endParaRPr lang="en-US" sz="2200" spc="10">
                <a:latin typeface="Times New Roman"/>
                <a:cs typeface="Times"/>
              </a:endParaRPr>
            </a:p>
            <a:p>
              <a:pPr algn="just"/>
              <a:endParaRPr lang="en-US" sz="2200" spc="1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54" name="Picture 153">
            <a:extLst>
              <a:ext uri="{FF2B5EF4-FFF2-40B4-BE49-F238E27FC236}">
                <a16:creationId xmlns:a16="http://schemas.microsoft.com/office/drawing/2014/main" id="{E904B181-6C5E-BCDA-23A4-1E76ABF5483D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22043758" y="11214049"/>
            <a:ext cx="7727751" cy="4956432"/>
          </a:xfrm>
          <a:prstGeom prst="rect">
            <a:avLst/>
          </a:prstGeom>
          <a:ln>
            <a:solidFill>
              <a:srgbClr val="B1810B"/>
            </a:solidFill>
          </a:ln>
        </p:spPr>
      </p:pic>
      <p:sp>
        <p:nvSpPr>
          <p:cNvPr id="155" name="TextBox 154">
            <a:extLst>
              <a:ext uri="{FF2B5EF4-FFF2-40B4-BE49-F238E27FC236}">
                <a16:creationId xmlns:a16="http://schemas.microsoft.com/office/drawing/2014/main" id="{A605C776-CE26-B571-A393-26EB8F5BCCCD}"/>
              </a:ext>
            </a:extLst>
          </p:cNvPr>
          <p:cNvSpPr txBox="1"/>
          <p:nvPr/>
        </p:nvSpPr>
        <p:spPr>
          <a:xfrm>
            <a:off x="22466521" y="16147099"/>
            <a:ext cx="79856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i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</a:rPr>
              <a:t>Fig 7</a:t>
            </a:r>
            <a:r>
              <a:rPr lang="en-US" sz="2000" i="1">
                <a:latin typeface="Arial" panose="020B0604020202020204" pitchFamily="34" charset="0"/>
                <a:cs typeface="Arial" panose="020B0604020202020204" pitchFamily="34" charset="0"/>
              </a:rPr>
              <a:t>. Collaborative &amp; content filtering predicting new items</a:t>
            </a:r>
            <a:endParaRPr lang="en-US" sz="2000"/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890766E4-BD22-7739-DF02-0D8A3BABCA56}"/>
              </a:ext>
            </a:extLst>
          </p:cNvPr>
          <p:cNvSpPr txBox="1"/>
          <p:nvPr/>
        </p:nvSpPr>
        <p:spPr>
          <a:xfrm>
            <a:off x="22014298" y="9997226"/>
            <a:ext cx="1246275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>
                <a:latin typeface="Arial" panose="020B0604020202020204" pitchFamily="34" charset="0"/>
                <a:cs typeface="Arial" panose="020B0604020202020204" pitchFamily="34" charset="0"/>
              </a:rPr>
              <a:t>Co-Clustering Prediction: at least one item in a </a:t>
            </a:r>
            <a:r>
              <a:rPr lang="en-US" sz="2200" b="1">
                <a:latin typeface="Arial" panose="020B0604020202020204" pitchFamily="34" charset="0"/>
                <a:cs typeface="Arial" panose="020B0604020202020204" pitchFamily="34" charset="0"/>
              </a:rPr>
              <a:t>customer’s</a:t>
            </a:r>
          </a:p>
          <a:p>
            <a:r>
              <a:rPr lang="en-US" sz="2200" b="1">
                <a:latin typeface="Arial" panose="020B0604020202020204" pitchFamily="34" charset="0"/>
                <a:cs typeface="Arial" panose="020B0604020202020204" pitchFamily="34" charset="0"/>
              </a:rPr>
              <a:t>    next order in 75% of the test set with a basket of 3 items </a:t>
            </a:r>
            <a:r>
              <a:rPr lang="en-US" sz="2200">
                <a:latin typeface="Arial" panose="020B0604020202020204" pitchFamily="34" charset="0"/>
                <a:cs typeface="Arial" panose="020B0604020202020204" pitchFamily="34" charset="0"/>
              </a:rPr>
              <a:t>vs 51% generically </a:t>
            </a:r>
          </a:p>
          <a:p>
            <a:r>
              <a:rPr lang="en-US" sz="2200">
                <a:latin typeface="Arial" panose="020B0604020202020204" pitchFamily="34" charset="0"/>
                <a:cs typeface="Arial" panose="020B0604020202020204" pitchFamily="34" charset="0"/>
              </a:rPr>
              <a:t>    predicting the company’s most popular items to all users</a:t>
            </a:r>
          </a:p>
          <a:p>
            <a:endParaRPr lang="en-IN" sz="2200"/>
          </a:p>
        </p:txBody>
      </p: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BCC34E9D-42E3-C8C4-C209-2C10E100AA5D}"/>
              </a:ext>
            </a:extLst>
          </p:cNvPr>
          <p:cNvCxnSpPr>
            <a:cxnSpLocks/>
          </p:cNvCxnSpPr>
          <p:nvPr/>
        </p:nvCxnSpPr>
        <p:spPr bwMode="auto">
          <a:xfrm flipV="1">
            <a:off x="22208940" y="11103505"/>
            <a:ext cx="10864985" cy="2955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4FB4A71-4B0D-7463-9FC0-E24765473BF5}"/>
              </a:ext>
            </a:extLst>
          </p:cNvPr>
          <p:cNvCxnSpPr>
            <a:cxnSpLocks/>
          </p:cNvCxnSpPr>
          <p:nvPr/>
        </p:nvCxnSpPr>
        <p:spPr bwMode="auto">
          <a:xfrm flipV="1">
            <a:off x="22347363" y="16541949"/>
            <a:ext cx="10864985" cy="2955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B1810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38BFAAA-48E0-4657-9A69-342B69C0DE4D}"/>
              </a:ext>
            </a:extLst>
          </p:cNvPr>
          <p:cNvCxnSpPr/>
          <p:nvPr/>
        </p:nvCxnSpPr>
        <p:spPr bwMode="auto">
          <a:xfrm>
            <a:off x="33500209" y="4190362"/>
            <a:ext cx="0" cy="1703204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71" name="Picture 170">
            <a:extLst>
              <a:ext uri="{FF2B5EF4-FFF2-40B4-BE49-F238E27FC236}">
                <a16:creationId xmlns:a16="http://schemas.microsoft.com/office/drawing/2014/main" id="{44D4D345-AF6C-7B8C-3420-630663F89406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22098131" y="16718503"/>
            <a:ext cx="6881924" cy="4560640"/>
          </a:xfrm>
          <a:prstGeom prst="rect">
            <a:avLst/>
          </a:prstGeom>
          <a:ln>
            <a:solidFill>
              <a:srgbClr val="C28E0E"/>
            </a:solidFill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3812550F-6361-BDF2-EFDC-A4F2A5D6FED6}"/>
              </a:ext>
            </a:extLst>
          </p:cNvPr>
          <p:cNvSpPr txBox="1"/>
          <p:nvPr/>
        </p:nvSpPr>
        <p:spPr>
          <a:xfrm>
            <a:off x="29173666" y="19922519"/>
            <a:ext cx="3771035" cy="144655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200" b="1" u="sng">
                <a:latin typeface="Arial" panose="020B0604020202020204" pitchFamily="34" charset="0"/>
                <a:cs typeface="Arial" panose="020B0604020202020204" pitchFamily="34" charset="0"/>
              </a:rPr>
              <a:t>Improvement Areas</a:t>
            </a:r>
            <a:r>
              <a:rPr lang="en-US" sz="2200" u="sng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2200">
                <a:latin typeface="Arial" panose="020B0604020202020204" pitchFamily="34" charset="0"/>
                <a:cs typeface="Arial" panose="020B0604020202020204" pitchFamily="34" charset="0"/>
              </a:rPr>
              <a:t>- Retain accuracy while creating more granular clusters</a:t>
            </a:r>
          </a:p>
        </p:txBody>
      </p:sp>
      <p:pic>
        <p:nvPicPr>
          <p:cNvPr id="15363" name="Picture 3">
            <a:extLst>
              <a:ext uri="{FF2B5EF4-FFF2-40B4-BE49-F238E27FC236}">
                <a16:creationId xmlns:a16="http://schemas.microsoft.com/office/drawing/2014/main" id="{A515B9AC-EBF4-529A-C645-2E7C5DF7A7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94430" y="239317"/>
            <a:ext cx="3411911" cy="3411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00074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Y9ZxFT7OPePSRnv9ap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A_V2pG7SfXAWhH9LM9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PIX0YisH1L.J5jPYg6oA"/>
</p:tagLst>
</file>

<file path=ppt/theme/theme1.xml><?xml version="1.0" encoding="utf-8"?>
<a:theme xmlns:a="http://schemas.openxmlformats.org/drawingml/2006/main" name="INFORMS2015_Comp_Conf">
  <a:themeElements>
    <a:clrScheme name="test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E36C09"/>
      </a:hlink>
      <a:folHlink>
        <a:srgbClr val="E36C09"/>
      </a:folHlink>
    </a:clrScheme>
    <a:fontScheme name="Blank">
      <a:majorFont>
        <a:latin typeface="Times"/>
        <a:ea typeface=""/>
        <a:cs typeface=""/>
      </a:majorFont>
      <a:minorFont>
        <a:latin typeface="Time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275B0F64C39D45B48ED87B7D5A772E" ma:contentTypeVersion="13" ma:contentTypeDescription="Create a new document." ma:contentTypeScope="" ma:versionID="a62b194ba624c8cf62b60144cd5b8a77">
  <xsd:schema xmlns:xsd="http://www.w3.org/2001/XMLSchema" xmlns:xs="http://www.w3.org/2001/XMLSchema" xmlns:p="http://schemas.microsoft.com/office/2006/metadata/properties" xmlns:ns3="b1755f8e-5024-43d4-9f4e-f0720ef5cbea" xmlns:ns4="b60307e8-227d-4226-bf3f-3f3e3f614599" targetNamespace="http://schemas.microsoft.com/office/2006/metadata/properties" ma:root="true" ma:fieldsID="f7af95be82f763595ac7849bdb709092" ns3:_="" ns4:_="">
    <xsd:import namespace="b1755f8e-5024-43d4-9f4e-f0720ef5cbea"/>
    <xsd:import namespace="b60307e8-227d-4226-bf3f-3f3e3f61459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755f8e-5024-43d4-9f4e-f0720ef5cb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0307e8-227d-4226-bf3f-3f3e3f61459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BE5E52D-EB9D-4B72-A928-24760AE9C86A}">
  <ds:schemaRefs>
    <ds:schemaRef ds:uri="b1755f8e-5024-43d4-9f4e-f0720ef5cbea"/>
    <ds:schemaRef ds:uri="b60307e8-227d-4226-bf3f-3f3e3f61459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BA11E28-B7DB-49AA-A1E7-5E933385601E}">
  <ds:schemaRefs>
    <ds:schemaRef ds:uri="b1755f8e-5024-43d4-9f4e-f0720ef5cbea"/>
    <ds:schemaRef ds:uri="b60307e8-227d-4226-bf3f-3f3e3f61459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99380DB-4B35-4657-950C-6BBA781E421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FORMS2015_Comp_Conf</Template>
  <TotalTime>0</TotalTime>
  <Words>912</Words>
  <Application>Microsoft Office PowerPoint</Application>
  <PresentationFormat>Custom</PresentationFormat>
  <Paragraphs>148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INFORMS2015_Comp_Conf</vt:lpstr>
      <vt:lpstr>PowerPoint Presentation</vt:lpstr>
    </vt:vector>
  </TitlesOfParts>
  <Company>Advance Auto Par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hew Lanham</dc:creator>
  <cp:lastModifiedBy>Das, Kamalika</cp:lastModifiedBy>
  <cp:revision>16</cp:revision>
  <cp:lastPrinted>2001-08-01T02:48:55Z</cp:lastPrinted>
  <dcterms:created xsi:type="dcterms:W3CDTF">2014-12-02T19:25:45Z</dcterms:created>
  <dcterms:modified xsi:type="dcterms:W3CDTF">2023-04-04T02:27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275B0F64C39D45B48ED87B7D5A772E</vt:lpwstr>
  </property>
  <property fmtid="{D5CDD505-2E9C-101B-9397-08002B2CF9AE}" pid="3" name="MSIP_Label_4044bd30-2ed7-4c9d-9d12-46200872a97b_Enabled">
    <vt:lpwstr>true</vt:lpwstr>
  </property>
  <property fmtid="{D5CDD505-2E9C-101B-9397-08002B2CF9AE}" pid="4" name="MSIP_Label_4044bd30-2ed7-4c9d-9d12-46200872a97b_SetDate">
    <vt:lpwstr>2023-02-12T22:43:19Z</vt:lpwstr>
  </property>
  <property fmtid="{D5CDD505-2E9C-101B-9397-08002B2CF9AE}" pid="5" name="MSIP_Label_4044bd30-2ed7-4c9d-9d12-46200872a97b_Method">
    <vt:lpwstr>Standard</vt:lpwstr>
  </property>
  <property fmtid="{D5CDD505-2E9C-101B-9397-08002B2CF9AE}" pid="6" name="MSIP_Label_4044bd30-2ed7-4c9d-9d12-46200872a97b_Name">
    <vt:lpwstr>defa4170-0d19-0005-0004-bc88714345d2</vt:lpwstr>
  </property>
  <property fmtid="{D5CDD505-2E9C-101B-9397-08002B2CF9AE}" pid="7" name="MSIP_Label_4044bd30-2ed7-4c9d-9d12-46200872a97b_SiteId">
    <vt:lpwstr>4130bd39-7c53-419c-b1e5-8758d6d63f21</vt:lpwstr>
  </property>
  <property fmtid="{D5CDD505-2E9C-101B-9397-08002B2CF9AE}" pid="8" name="MSIP_Label_4044bd30-2ed7-4c9d-9d12-46200872a97b_ActionId">
    <vt:lpwstr>0921911d-880f-4b65-84b6-11dfa3a5ea79</vt:lpwstr>
  </property>
  <property fmtid="{D5CDD505-2E9C-101B-9397-08002B2CF9AE}" pid="9" name="MSIP_Label_4044bd30-2ed7-4c9d-9d12-46200872a97b_ContentBits">
    <vt:lpwstr>0</vt:lpwstr>
  </property>
</Properties>
</file>